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757" r:id="rId2"/>
    <p:sldId id="758" r:id="rId3"/>
    <p:sldId id="759" r:id="rId4"/>
    <p:sldId id="704" r:id="rId5"/>
    <p:sldId id="760" r:id="rId6"/>
    <p:sldId id="755" r:id="rId7"/>
    <p:sldId id="729" r:id="rId8"/>
    <p:sldId id="730" r:id="rId9"/>
    <p:sldId id="731" r:id="rId10"/>
    <p:sldId id="689" r:id="rId11"/>
    <p:sldId id="761" r:id="rId12"/>
    <p:sldId id="756" r:id="rId13"/>
    <p:sldId id="695" r:id="rId14"/>
    <p:sldId id="762" r:id="rId15"/>
    <p:sldId id="763" r:id="rId16"/>
  </p:sldIdLst>
  <p:sldSz cx="9144000" cy="6858000" type="screen4x3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5BD4FF"/>
    <a:srgbClr val="EFADF1"/>
    <a:srgbClr val="66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64" autoAdjust="0"/>
    <p:restoredTop sz="95494" autoAdjust="0"/>
  </p:normalViewPr>
  <p:slideViewPr>
    <p:cSldViewPr>
      <p:cViewPr varScale="1">
        <p:scale>
          <a:sx n="76" d="100"/>
          <a:sy n="76" d="100"/>
        </p:scale>
        <p:origin x="84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54" y="155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095776-401A-45FF-903F-587CF9B09E86}" type="doc">
      <dgm:prSet loTypeId="urn:microsoft.com/office/officeart/2005/8/layout/radial6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kumimoji="1" lang="ja-JP" altLang="en-US"/>
        </a:p>
      </dgm:t>
    </dgm:pt>
    <dgm:pt modelId="{D2D22ABA-CAB9-4319-8193-A2D9A2766FC8}">
      <dgm:prSet phldrT="[テキスト]" custT="1"/>
      <dgm:spPr/>
      <dgm:t>
        <a:bodyPr lIns="0" tIns="0" rIns="0" bIns="0"/>
        <a:lstStyle/>
        <a:p>
          <a:r>
            <a:rPr kumimoji="1" lang="en-US" altLang="ja-JP" sz="1050" b="1" dirty="0"/>
            <a:t> </a:t>
          </a:r>
          <a:endParaRPr kumimoji="1" lang="en-US" altLang="ja-JP" sz="1800" b="1" dirty="0"/>
        </a:p>
        <a:p>
          <a:r>
            <a:rPr kumimoji="1" lang="en-US" altLang="ja-JP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atural Science</a:t>
          </a:r>
        </a:p>
        <a:p>
          <a:r>
            <a:rPr kumimoji="1" lang="en-US" altLang="ja-JP" sz="1400" dirty="0"/>
            <a:t>-Geology</a:t>
          </a:r>
        </a:p>
        <a:p>
          <a:r>
            <a:rPr kumimoji="1" lang="en-US" altLang="ja-JP" sz="1400" dirty="0"/>
            <a:t>-Medical Science</a:t>
          </a:r>
        </a:p>
        <a:p>
          <a:r>
            <a:rPr kumimoji="1" lang="en-US" altLang="ja-JP" sz="1400" dirty="0"/>
            <a:t>-Agriculture</a:t>
          </a:r>
        </a:p>
        <a:p>
          <a:r>
            <a:rPr kumimoji="1" lang="en-US" altLang="ja-JP" sz="1400" dirty="0"/>
            <a:t>Etc.</a:t>
          </a:r>
        </a:p>
        <a:p>
          <a:endParaRPr kumimoji="1" lang="ja-JP" altLang="en-US" sz="1400" dirty="0"/>
        </a:p>
      </dgm:t>
    </dgm:pt>
    <dgm:pt modelId="{2235567C-75DE-4A25-9C81-9147D6FE605B}" type="parTrans" cxnId="{18E09614-1160-4AE7-AFDC-D138E0AA7A96}">
      <dgm:prSet/>
      <dgm:spPr/>
      <dgm:t>
        <a:bodyPr/>
        <a:lstStyle/>
        <a:p>
          <a:endParaRPr kumimoji="1" lang="ja-JP" altLang="en-US"/>
        </a:p>
      </dgm:t>
    </dgm:pt>
    <dgm:pt modelId="{D541DB11-5CF4-4F9E-BCD2-989D84BA9E42}" type="sibTrans" cxnId="{18E09614-1160-4AE7-AFDC-D138E0AA7A96}">
      <dgm:prSet/>
      <dgm:spPr/>
      <dgm:t>
        <a:bodyPr/>
        <a:lstStyle/>
        <a:p>
          <a:endParaRPr kumimoji="1" lang="ja-JP" altLang="en-US"/>
        </a:p>
      </dgm:t>
    </dgm:pt>
    <dgm:pt modelId="{03B65A0F-EBFD-4B5C-9913-79796814133F}">
      <dgm:prSet phldrT="[テキスト]" custT="1"/>
      <dgm:spPr/>
      <dgm:t>
        <a:bodyPr lIns="0" tIns="0" rIns="0" bIns="0"/>
        <a:lstStyle/>
        <a:p>
          <a:r>
            <a:rPr kumimoji="1" lang="en-US" altLang="ja-JP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Human Science</a:t>
          </a:r>
        </a:p>
        <a:p>
          <a:r>
            <a:rPr kumimoji="1" lang="en-US" altLang="ja-JP" sz="1400" dirty="0"/>
            <a:t>-History</a:t>
          </a:r>
        </a:p>
        <a:p>
          <a:r>
            <a:rPr kumimoji="1" lang="en-US" altLang="ja-JP" sz="1400" dirty="0"/>
            <a:t>-Anthropology</a:t>
          </a:r>
        </a:p>
        <a:p>
          <a:r>
            <a:rPr kumimoji="1" lang="en-US" altLang="ja-JP" sz="1400" dirty="0"/>
            <a:t>-Philosophy</a:t>
          </a:r>
        </a:p>
        <a:p>
          <a:r>
            <a:rPr kumimoji="1" lang="en-US" altLang="ja-JP" sz="1400" dirty="0"/>
            <a:t>Etc.</a:t>
          </a:r>
          <a:endParaRPr kumimoji="1" lang="ja-JP" altLang="en-US" sz="1400" dirty="0"/>
        </a:p>
      </dgm:t>
    </dgm:pt>
    <dgm:pt modelId="{36B7E443-8D20-4149-A786-B63CE1C2BFFD}" type="parTrans" cxnId="{954B581B-569E-4769-B3A2-F0DD3764CC80}">
      <dgm:prSet/>
      <dgm:spPr/>
      <dgm:t>
        <a:bodyPr/>
        <a:lstStyle/>
        <a:p>
          <a:endParaRPr kumimoji="1" lang="ja-JP" altLang="en-US"/>
        </a:p>
      </dgm:t>
    </dgm:pt>
    <dgm:pt modelId="{048D614A-7E0B-4AE9-8875-08EBDB91A165}" type="sibTrans" cxnId="{954B581B-569E-4769-B3A2-F0DD3764CC80}">
      <dgm:prSet/>
      <dgm:spPr/>
      <dgm:t>
        <a:bodyPr/>
        <a:lstStyle/>
        <a:p>
          <a:endParaRPr kumimoji="1" lang="ja-JP" altLang="en-US"/>
        </a:p>
      </dgm:t>
    </dgm:pt>
    <dgm:pt modelId="{40326546-FF98-41C7-802C-1A7AF2B307CE}">
      <dgm:prSet phldrT="[テキスト]" custT="1"/>
      <dgm:spPr/>
      <dgm:t>
        <a:bodyPr lIns="0" tIns="0" rIns="0" bIns="0"/>
        <a:lstStyle/>
        <a:p>
          <a:r>
            <a:rPr kumimoji="1" lang="en-US" altLang="ja-JP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cial Science</a:t>
          </a:r>
        </a:p>
        <a:p>
          <a:r>
            <a:rPr kumimoji="1" lang="en-US" altLang="ja-JP" sz="1400" dirty="0"/>
            <a:t>-Sociology</a:t>
          </a:r>
        </a:p>
        <a:p>
          <a:r>
            <a:rPr kumimoji="1" lang="en-US" altLang="ja-JP" sz="1400" dirty="0"/>
            <a:t>-Developmental Studies</a:t>
          </a:r>
        </a:p>
        <a:p>
          <a:r>
            <a:rPr kumimoji="1" lang="en-US" altLang="ja-JP" sz="1400" dirty="0"/>
            <a:t>-Education</a:t>
          </a:r>
        </a:p>
        <a:p>
          <a:r>
            <a:rPr kumimoji="1" lang="en-US" altLang="ja-JP" sz="1400" dirty="0"/>
            <a:t>Etc.</a:t>
          </a:r>
          <a:endParaRPr kumimoji="1" lang="ja-JP" altLang="en-US" sz="1400" dirty="0"/>
        </a:p>
      </dgm:t>
    </dgm:pt>
    <dgm:pt modelId="{6299C231-6DF5-42C4-BCC6-CA7CAF3EFC1C}" type="parTrans" cxnId="{07DCEB62-E982-45A9-83D2-B9F83FD64DAD}">
      <dgm:prSet/>
      <dgm:spPr/>
      <dgm:t>
        <a:bodyPr/>
        <a:lstStyle/>
        <a:p>
          <a:endParaRPr kumimoji="1" lang="ja-JP" altLang="en-US"/>
        </a:p>
      </dgm:t>
    </dgm:pt>
    <dgm:pt modelId="{7F0AFC97-F407-47E9-9277-A7FE58ED1126}" type="sibTrans" cxnId="{07DCEB62-E982-45A9-83D2-B9F83FD64DAD}">
      <dgm:prSet/>
      <dgm:spPr/>
      <dgm:t>
        <a:bodyPr/>
        <a:lstStyle/>
        <a:p>
          <a:endParaRPr kumimoji="1" lang="ja-JP" altLang="en-US"/>
        </a:p>
      </dgm:t>
    </dgm:pt>
    <dgm:pt modelId="{16F94D15-81FC-4593-856D-DABF9F28B557}">
      <dgm:prSet phldrT="[テキスト]" custT="1"/>
      <dgm:spPr>
        <a:noFill/>
        <a:ln>
          <a:noFill/>
        </a:ln>
      </dgm:spPr>
      <dgm:t>
        <a:bodyPr lIns="0" tIns="0" rIns="0" bIns="0"/>
        <a:lstStyle/>
        <a:p>
          <a:r>
            <a:rPr kumimoji="1" lang="en-US" altLang="ja-JP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terdisciplinary Bhutanese Studies</a:t>
          </a:r>
          <a:endParaRPr kumimoji="1" lang="ja-JP" altLang="en-US" sz="3200" b="1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965456D-C06D-42F2-8A51-747F85474C6C}" type="sibTrans" cxnId="{286FD57F-1664-4177-A0A3-C5D57D52B91B}">
      <dgm:prSet/>
      <dgm:spPr/>
      <dgm:t>
        <a:bodyPr/>
        <a:lstStyle/>
        <a:p>
          <a:endParaRPr kumimoji="1" lang="ja-JP" altLang="en-US"/>
        </a:p>
      </dgm:t>
    </dgm:pt>
    <dgm:pt modelId="{50DE853F-96EF-4615-8EB8-55865BC6C0CF}" type="parTrans" cxnId="{286FD57F-1664-4177-A0A3-C5D57D52B91B}">
      <dgm:prSet/>
      <dgm:spPr/>
      <dgm:t>
        <a:bodyPr/>
        <a:lstStyle/>
        <a:p>
          <a:endParaRPr kumimoji="1" lang="ja-JP" altLang="en-US"/>
        </a:p>
      </dgm:t>
    </dgm:pt>
    <dgm:pt modelId="{4EDB3712-E8EF-4503-9902-5AB112E8E2E2}" type="pres">
      <dgm:prSet presAssocID="{BA095776-401A-45FF-903F-587CF9B09E86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kumimoji="1" lang="ja-JP" altLang="en-US"/>
        </a:p>
      </dgm:t>
    </dgm:pt>
    <dgm:pt modelId="{F0F65A5D-E145-45D2-A70C-41FE200B848B}" type="pres">
      <dgm:prSet presAssocID="{16F94D15-81FC-4593-856D-DABF9F28B557}" presName="centerShape" presStyleLbl="node0" presStyleIdx="0" presStyleCnt="1" custScaleX="224529" custScaleY="44814" custLinFactNeighborX="193" custLinFactNeighborY="-9091"/>
      <dgm:spPr/>
      <dgm:t>
        <a:bodyPr/>
        <a:lstStyle/>
        <a:p>
          <a:endParaRPr kumimoji="1" lang="ja-JP" altLang="en-US"/>
        </a:p>
      </dgm:t>
    </dgm:pt>
    <dgm:pt modelId="{31280697-EF4E-41D8-8623-E9DE4E635801}" type="pres">
      <dgm:prSet presAssocID="{D2D22ABA-CAB9-4319-8193-A2D9A2766FC8}" presName="node" presStyleLbl="node1" presStyleIdx="0" presStyleCnt="3" custScaleX="187815" custScaleY="132485">
        <dgm:presLayoutVars>
          <dgm:bulletEnabled val="1"/>
        </dgm:presLayoutVars>
      </dgm:prSet>
      <dgm:spPr/>
      <dgm:t>
        <a:bodyPr/>
        <a:lstStyle/>
        <a:p>
          <a:endParaRPr kumimoji="1" lang="ja-JP" altLang="en-US"/>
        </a:p>
      </dgm:t>
    </dgm:pt>
    <dgm:pt modelId="{26C300A3-0D9F-4DF6-A703-A4CDF4754403}" type="pres">
      <dgm:prSet presAssocID="{D2D22ABA-CAB9-4319-8193-A2D9A2766FC8}" presName="dummy" presStyleCnt="0"/>
      <dgm:spPr/>
    </dgm:pt>
    <dgm:pt modelId="{494A492B-466A-449E-A16B-98F09D5A813D}" type="pres">
      <dgm:prSet presAssocID="{D541DB11-5CF4-4F9E-BCD2-989D84BA9E42}" presName="sibTrans" presStyleLbl="sibTrans2D1" presStyleIdx="0" presStyleCnt="3"/>
      <dgm:spPr/>
      <dgm:t>
        <a:bodyPr/>
        <a:lstStyle/>
        <a:p>
          <a:endParaRPr kumimoji="1" lang="ja-JP" altLang="en-US"/>
        </a:p>
      </dgm:t>
    </dgm:pt>
    <dgm:pt modelId="{F324BAAD-2EFB-4E9F-97A9-16ABC6BCDB0C}" type="pres">
      <dgm:prSet presAssocID="{03B65A0F-EBFD-4B5C-9913-79796814133F}" presName="node" presStyleLbl="node1" presStyleIdx="1" presStyleCnt="3" custScaleX="179328" custScaleY="129542">
        <dgm:presLayoutVars>
          <dgm:bulletEnabled val="1"/>
        </dgm:presLayoutVars>
      </dgm:prSet>
      <dgm:spPr/>
      <dgm:t>
        <a:bodyPr/>
        <a:lstStyle/>
        <a:p>
          <a:endParaRPr kumimoji="1" lang="ja-JP" altLang="en-US"/>
        </a:p>
      </dgm:t>
    </dgm:pt>
    <dgm:pt modelId="{15C5B9B2-8807-4D8F-96CD-9BA7837BAF24}" type="pres">
      <dgm:prSet presAssocID="{03B65A0F-EBFD-4B5C-9913-79796814133F}" presName="dummy" presStyleCnt="0"/>
      <dgm:spPr/>
    </dgm:pt>
    <dgm:pt modelId="{E1A94BBE-1889-424B-8888-5BB1C1E9AAF6}" type="pres">
      <dgm:prSet presAssocID="{048D614A-7E0B-4AE9-8875-08EBDB91A165}" presName="sibTrans" presStyleLbl="sibTrans2D1" presStyleIdx="1" presStyleCnt="3"/>
      <dgm:spPr/>
      <dgm:t>
        <a:bodyPr/>
        <a:lstStyle/>
        <a:p>
          <a:endParaRPr kumimoji="1" lang="ja-JP" altLang="en-US"/>
        </a:p>
      </dgm:t>
    </dgm:pt>
    <dgm:pt modelId="{B5302A7A-F012-471F-B8B9-79C1C1A5D328}" type="pres">
      <dgm:prSet presAssocID="{40326546-FF98-41C7-802C-1A7AF2B307CE}" presName="node" presStyleLbl="node1" presStyleIdx="2" presStyleCnt="3" custScaleX="182281" custScaleY="129542">
        <dgm:presLayoutVars>
          <dgm:bulletEnabled val="1"/>
        </dgm:presLayoutVars>
      </dgm:prSet>
      <dgm:spPr/>
      <dgm:t>
        <a:bodyPr/>
        <a:lstStyle/>
        <a:p>
          <a:endParaRPr kumimoji="1" lang="ja-JP" altLang="en-US"/>
        </a:p>
      </dgm:t>
    </dgm:pt>
    <dgm:pt modelId="{4FE97A5D-506F-4365-B8D2-D051436C50E6}" type="pres">
      <dgm:prSet presAssocID="{40326546-FF98-41C7-802C-1A7AF2B307CE}" presName="dummy" presStyleCnt="0"/>
      <dgm:spPr/>
    </dgm:pt>
    <dgm:pt modelId="{2015D4AE-D3BB-4FCF-BC7E-C23682B3044D}" type="pres">
      <dgm:prSet presAssocID="{7F0AFC97-F407-47E9-9277-A7FE58ED1126}" presName="sibTrans" presStyleLbl="sibTrans2D1" presStyleIdx="2" presStyleCnt="3"/>
      <dgm:spPr/>
      <dgm:t>
        <a:bodyPr/>
        <a:lstStyle/>
        <a:p>
          <a:endParaRPr kumimoji="1" lang="ja-JP" altLang="en-US"/>
        </a:p>
      </dgm:t>
    </dgm:pt>
  </dgm:ptLst>
  <dgm:cxnLst>
    <dgm:cxn modelId="{2AD80FF2-1E4F-4140-96AE-1AFE2780A957}" type="presOf" srcId="{BA095776-401A-45FF-903F-587CF9B09E86}" destId="{4EDB3712-E8EF-4503-9902-5AB112E8E2E2}" srcOrd="0" destOrd="0" presId="urn:microsoft.com/office/officeart/2005/8/layout/radial6"/>
    <dgm:cxn modelId="{45560D1D-6A92-4D2F-8A03-7BBD2F28AF42}" type="presOf" srcId="{03B65A0F-EBFD-4B5C-9913-79796814133F}" destId="{F324BAAD-2EFB-4E9F-97A9-16ABC6BCDB0C}" srcOrd="0" destOrd="0" presId="urn:microsoft.com/office/officeart/2005/8/layout/radial6"/>
    <dgm:cxn modelId="{E9D6E0DC-FB36-46EB-950E-D921F8E21D35}" type="presOf" srcId="{D2D22ABA-CAB9-4319-8193-A2D9A2766FC8}" destId="{31280697-EF4E-41D8-8623-E9DE4E635801}" srcOrd="0" destOrd="0" presId="urn:microsoft.com/office/officeart/2005/8/layout/radial6"/>
    <dgm:cxn modelId="{E1C18598-17F3-4E4C-B3C2-8BB954D0C89E}" type="presOf" srcId="{D541DB11-5CF4-4F9E-BCD2-989D84BA9E42}" destId="{494A492B-466A-449E-A16B-98F09D5A813D}" srcOrd="0" destOrd="0" presId="urn:microsoft.com/office/officeart/2005/8/layout/radial6"/>
    <dgm:cxn modelId="{CEA6D0D8-326C-4FC8-8753-0B49EC9FFC70}" type="presOf" srcId="{40326546-FF98-41C7-802C-1A7AF2B307CE}" destId="{B5302A7A-F012-471F-B8B9-79C1C1A5D328}" srcOrd="0" destOrd="0" presId="urn:microsoft.com/office/officeart/2005/8/layout/radial6"/>
    <dgm:cxn modelId="{07DCEB62-E982-45A9-83D2-B9F83FD64DAD}" srcId="{16F94D15-81FC-4593-856D-DABF9F28B557}" destId="{40326546-FF98-41C7-802C-1A7AF2B307CE}" srcOrd="2" destOrd="0" parTransId="{6299C231-6DF5-42C4-BCC6-CA7CAF3EFC1C}" sibTransId="{7F0AFC97-F407-47E9-9277-A7FE58ED1126}"/>
    <dgm:cxn modelId="{44D80CD2-D236-4F48-9DC9-B405BBD7D272}" type="presOf" srcId="{048D614A-7E0B-4AE9-8875-08EBDB91A165}" destId="{E1A94BBE-1889-424B-8888-5BB1C1E9AAF6}" srcOrd="0" destOrd="0" presId="urn:microsoft.com/office/officeart/2005/8/layout/radial6"/>
    <dgm:cxn modelId="{954B581B-569E-4769-B3A2-F0DD3764CC80}" srcId="{16F94D15-81FC-4593-856D-DABF9F28B557}" destId="{03B65A0F-EBFD-4B5C-9913-79796814133F}" srcOrd="1" destOrd="0" parTransId="{36B7E443-8D20-4149-A786-B63CE1C2BFFD}" sibTransId="{048D614A-7E0B-4AE9-8875-08EBDB91A165}"/>
    <dgm:cxn modelId="{B2DD1188-D55E-4C9F-B112-B8FC56DC1B5C}" type="presOf" srcId="{16F94D15-81FC-4593-856D-DABF9F28B557}" destId="{F0F65A5D-E145-45D2-A70C-41FE200B848B}" srcOrd="0" destOrd="0" presId="urn:microsoft.com/office/officeart/2005/8/layout/radial6"/>
    <dgm:cxn modelId="{18E09614-1160-4AE7-AFDC-D138E0AA7A96}" srcId="{16F94D15-81FC-4593-856D-DABF9F28B557}" destId="{D2D22ABA-CAB9-4319-8193-A2D9A2766FC8}" srcOrd="0" destOrd="0" parTransId="{2235567C-75DE-4A25-9C81-9147D6FE605B}" sibTransId="{D541DB11-5CF4-4F9E-BCD2-989D84BA9E42}"/>
    <dgm:cxn modelId="{756E5D75-3546-45A8-BB6C-95AB67AE520E}" type="presOf" srcId="{7F0AFC97-F407-47E9-9277-A7FE58ED1126}" destId="{2015D4AE-D3BB-4FCF-BC7E-C23682B3044D}" srcOrd="0" destOrd="0" presId="urn:microsoft.com/office/officeart/2005/8/layout/radial6"/>
    <dgm:cxn modelId="{286FD57F-1664-4177-A0A3-C5D57D52B91B}" srcId="{BA095776-401A-45FF-903F-587CF9B09E86}" destId="{16F94D15-81FC-4593-856D-DABF9F28B557}" srcOrd="0" destOrd="0" parTransId="{50DE853F-96EF-4615-8EB8-55865BC6C0CF}" sibTransId="{F965456D-C06D-42F2-8A51-747F85474C6C}"/>
    <dgm:cxn modelId="{6C985862-C282-4E4D-B253-8692411965B6}" type="presParOf" srcId="{4EDB3712-E8EF-4503-9902-5AB112E8E2E2}" destId="{F0F65A5D-E145-45D2-A70C-41FE200B848B}" srcOrd="0" destOrd="0" presId="urn:microsoft.com/office/officeart/2005/8/layout/radial6"/>
    <dgm:cxn modelId="{BE3F61A9-A0CB-4B28-ABAB-3BE9E0546F78}" type="presParOf" srcId="{4EDB3712-E8EF-4503-9902-5AB112E8E2E2}" destId="{31280697-EF4E-41D8-8623-E9DE4E635801}" srcOrd="1" destOrd="0" presId="urn:microsoft.com/office/officeart/2005/8/layout/radial6"/>
    <dgm:cxn modelId="{CA92244D-6E20-45A6-B4AB-84F92B0F77A5}" type="presParOf" srcId="{4EDB3712-E8EF-4503-9902-5AB112E8E2E2}" destId="{26C300A3-0D9F-4DF6-A703-A4CDF4754403}" srcOrd="2" destOrd="0" presId="urn:microsoft.com/office/officeart/2005/8/layout/radial6"/>
    <dgm:cxn modelId="{F5C3F3DC-5234-4115-ADC7-A1C76F240782}" type="presParOf" srcId="{4EDB3712-E8EF-4503-9902-5AB112E8E2E2}" destId="{494A492B-466A-449E-A16B-98F09D5A813D}" srcOrd="3" destOrd="0" presId="urn:microsoft.com/office/officeart/2005/8/layout/radial6"/>
    <dgm:cxn modelId="{2D3CBC4F-0150-4BD6-9E86-37B798DFA714}" type="presParOf" srcId="{4EDB3712-E8EF-4503-9902-5AB112E8E2E2}" destId="{F324BAAD-2EFB-4E9F-97A9-16ABC6BCDB0C}" srcOrd="4" destOrd="0" presId="urn:microsoft.com/office/officeart/2005/8/layout/radial6"/>
    <dgm:cxn modelId="{C8BE71B8-71BB-4862-BD7A-42ED508F9AA1}" type="presParOf" srcId="{4EDB3712-E8EF-4503-9902-5AB112E8E2E2}" destId="{15C5B9B2-8807-4D8F-96CD-9BA7837BAF24}" srcOrd="5" destOrd="0" presId="urn:microsoft.com/office/officeart/2005/8/layout/radial6"/>
    <dgm:cxn modelId="{2E3F511C-4B32-4BA7-BC0B-8C6D575CCF68}" type="presParOf" srcId="{4EDB3712-E8EF-4503-9902-5AB112E8E2E2}" destId="{E1A94BBE-1889-424B-8888-5BB1C1E9AAF6}" srcOrd="6" destOrd="0" presId="urn:microsoft.com/office/officeart/2005/8/layout/radial6"/>
    <dgm:cxn modelId="{678114C2-4893-4913-9C7D-80190999448F}" type="presParOf" srcId="{4EDB3712-E8EF-4503-9902-5AB112E8E2E2}" destId="{B5302A7A-F012-471F-B8B9-79C1C1A5D328}" srcOrd="7" destOrd="0" presId="urn:microsoft.com/office/officeart/2005/8/layout/radial6"/>
    <dgm:cxn modelId="{AC6A2CD9-4D7A-41D1-A9AB-43CE718FEA2B}" type="presParOf" srcId="{4EDB3712-E8EF-4503-9902-5AB112E8E2E2}" destId="{4FE97A5D-506F-4365-B8D2-D051436C50E6}" srcOrd="8" destOrd="0" presId="urn:microsoft.com/office/officeart/2005/8/layout/radial6"/>
    <dgm:cxn modelId="{68E40274-2DF7-4A91-91A8-11137D80238D}" type="presParOf" srcId="{4EDB3712-E8EF-4503-9902-5AB112E8E2E2}" destId="{2015D4AE-D3BB-4FCF-BC7E-C23682B3044D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15D4AE-D3BB-4FCF-BC7E-C23682B3044D}">
      <dsp:nvSpPr>
        <dsp:cNvPr id="0" name=""/>
        <dsp:cNvSpPr/>
      </dsp:nvSpPr>
      <dsp:spPr>
        <a:xfrm>
          <a:off x="2148476" y="837596"/>
          <a:ext cx="4750325" cy="4750325"/>
        </a:xfrm>
        <a:prstGeom prst="blockArc">
          <a:avLst>
            <a:gd name="adj1" fmla="val 9000000"/>
            <a:gd name="adj2" fmla="val 16200000"/>
            <a:gd name="adj3" fmla="val 4643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A94BBE-1889-424B-8888-5BB1C1E9AAF6}">
      <dsp:nvSpPr>
        <dsp:cNvPr id="0" name=""/>
        <dsp:cNvSpPr/>
      </dsp:nvSpPr>
      <dsp:spPr>
        <a:xfrm>
          <a:off x="2148476" y="837596"/>
          <a:ext cx="4750325" cy="4750325"/>
        </a:xfrm>
        <a:prstGeom prst="blockArc">
          <a:avLst>
            <a:gd name="adj1" fmla="val 1800000"/>
            <a:gd name="adj2" fmla="val 9000000"/>
            <a:gd name="adj3" fmla="val 4643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4A492B-466A-449E-A16B-98F09D5A813D}">
      <dsp:nvSpPr>
        <dsp:cNvPr id="0" name=""/>
        <dsp:cNvSpPr/>
      </dsp:nvSpPr>
      <dsp:spPr>
        <a:xfrm>
          <a:off x="2148476" y="837596"/>
          <a:ext cx="4750325" cy="4750325"/>
        </a:xfrm>
        <a:prstGeom prst="blockArc">
          <a:avLst>
            <a:gd name="adj1" fmla="val 16200000"/>
            <a:gd name="adj2" fmla="val 1800000"/>
            <a:gd name="adj3" fmla="val 4643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F65A5D-E145-45D2-A70C-41FE200B848B}">
      <dsp:nvSpPr>
        <dsp:cNvPr id="0" name=""/>
        <dsp:cNvSpPr/>
      </dsp:nvSpPr>
      <dsp:spPr>
        <a:xfrm>
          <a:off x="2076399" y="2300697"/>
          <a:ext cx="4912389" cy="98046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3200" b="1" kern="1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terdisciplinary Bhutanese Studies</a:t>
          </a:r>
          <a:endParaRPr kumimoji="1" lang="ja-JP" altLang="en-US" sz="3200" b="1" kern="1200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795802" y="2444283"/>
        <a:ext cx="3473583" cy="693297"/>
      </dsp:txXfrm>
    </dsp:sp>
    <dsp:sp modelId="{31280697-EF4E-41D8-8623-E9DE4E635801}">
      <dsp:nvSpPr>
        <dsp:cNvPr id="0" name=""/>
        <dsp:cNvSpPr/>
      </dsp:nvSpPr>
      <dsp:spPr>
        <a:xfrm>
          <a:off x="3085440" y="-121776"/>
          <a:ext cx="2876396" cy="202901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050" b="1" kern="1200" dirty="0"/>
            <a:t> </a:t>
          </a:r>
          <a:endParaRPr kumimoji="1" lang="en-US" altLang="ja-JP" sz="1800" b="1" kern="1200" dirty="0"/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2400" b="1" kern="1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atural Science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Geology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Medical Science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Agriculture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Etc.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kumimoji="1" lang="ja-JP" altLang="en-US" sz="1400" kern="1200" dirty="0"/>
        </a:p>
      </dsp:txBody>
      <dsp:txXfrm>
        <a:off x="3506678" y="175366"/>
        <a:ext cx="2033920" cy="1434730"/>
      </dsp:txXfrm>
    </dsp:sp>
    <dsp:sp modelId="{F324BAAD-2EFB-4E9F-97A9-16ABC6BCDB0C}">
      <dsp:nvSpPr>
        <dsp:cNvPr id="0" name=""/>
        <dsp:cNvSpPr/>
      </dsp:nvSpPr>
      <dsp:spPr>
        <a:xfrm>
          <a:off x="5159633" y="3380802"/>
          <a:ext cx="2746417" cy="198394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2400" b="1" kern="1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Human Scienc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History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Anthropology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Philosophy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Etc.</a:t>
          </a:r>
          <a:endParaRPr kumimoji="1" lang="ja-JP" altLang="en-US" sz="1400" kern="1200" dirty="0"/>
        </a:p>
      </dsp:txBody>
      <dsp:txXfrm>
        <a:off x="5561836" y="3671344"/>
        <a:ext cx="1942011" cy="1402858"/>
      </dsp:txXfrm>
    </dsp:sp>
    <dsp:sp modelId="{B5302A7A-F012-471F-B8B9-79C1C1A5D328}">
      <dsp:nvSpPr>
        <dsp:cNvPr id="0" name=""/>
        <dsp:cNvSpPr/>
      </dsp:nvSpPr>
      <dsp:spPr>
        <a:xfrm>
          <a:off x="1118613" y="3380802"/>
          <a:ext cx="2791642" cy="1983942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2400" b="1" kern="1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cial Scienc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Sociology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Developmental Studies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-Education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1" lang="en-US" altLang="ja-JP" sz="1400" kern="1200" dirty="0"/>
            <a:t>Etc.</a:t>
          </a:r>
          <a:endParaRPr kumimoji="1" lang="ja-JP" altLang="en-US" sz="1400" kern="1200" dirty="0"/>
        </a:p>
      </dsp:txBody>
      <dsp:txXfrm>
        <a:off x="1527440" y="3671344"/>
        <a:ext cx="1973988" cy="14028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1B0DFC-2FB8-4535-8264-EE1F370BC166}" type="datetimeFigureOut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E0E315-5C69-4674-BB45-CBD93EAEE8D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58478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00113" y="739775"/>
            <a:ext cx="4935537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E0E315-5C69-4674-BB45-CBD93EAEE8D9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7468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CB182-7626-4152-8DD9-E6C3F805DBD2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6356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　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0FD6D3-55C4-483E-8825-F1212D018FC1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591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F377A1-1C14-4A0A-B847-4ABD8C6DB2F6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14547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D066E-E6B2-4470-86E6-186AA84E62D6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6926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4CAA0-0029-4710-B652-092623661681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575891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A3252-A23D-4A2A-8D3C-D03511026E97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879990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B6D13-FA79-445A-838F-87ABE6310CF6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90066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4D4E9-D6F9-438A-8CE6-7C6C6A56FE04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30683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40A73-BBE2-41EA-816E-A0E1CED738EB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005729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3700EF-7FC5-42F4-BDCF-013856963C35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45020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EC7793-2A84-4A00-AFC3-A72E893E714E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831089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3A37C-F484-49DB-AA43-D026C6B4BEE6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096020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6316C4-F161-495B-9050-2244510877D7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7003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2881D7-BB50-402E-8081-18B1EB289D02}" type="datetime1">
              <a:rPr kumimoji="1" lang="ja-JP" altLang="en-US" smtClean="0"/>
              <a:t>2019/1/10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79FFBA-DAFA-4759-90F9-65221B46EDA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56172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7000" r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0" y="811736"/>
            <a:ext cx="9144000" cy="1537144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altLang="ja-JP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BS </a:t>
            </a:r>
            <a:r>
              <a:rPr lang="es-ES" altLang="ja-JP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r>
              <a:rPr lang="ja-JP" altLang="en-US" sz="4000" b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ja-JP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ntity &amp; Purposes</a:t>
            </a:r>
            <a:br>
              <a:rPr lang="en-US" altLang="ja-JP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altLang="ja-JP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ggestions from Indo-Tibetan Buddhology</a:t>
            </a:r>
            <a:endParaRPr lang="ja-JP" altLang="en-US" sz="11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サブタイトル 2"/>
          <p:cNvSpPr txBox="1">
            <a:spLocks/>
          </p:cNvSpPr>
          <p:nvPr/>
        </p:nvSpPr>
        <p:spPr>
          <a:xfrm>
            <a:off x="395536" y="188640"/>
            <a:ext cx="8291264" cy="57606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ISBS  (</a:t>
            </a:r>
            <a:r>
              <a:rPr lang="en-US" altLang="ja-JP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ＭＳ Ｐゴシック" panose="020B0600070205080204" pitchFamily="50" charset="-128"/>
              </a:rPr>
              <a:t>10</a:t>
            </a: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/01/2019 @The University of Oxford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9FFBA-DAFA-4759-90F9-65221B46EDAD}" type="slidenum">
              <a:rPr kumimoji="1" lang="ja-JP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6" name="サブタイトル 2"/>
          <p:cNvSpPr txBox="1">
            <a:spLocks/>
          </p:cNvSpPr>
          <p:nvPr/>
        </p:nvSpPr>
        <p:spPr>
          <a:xfrm>
            <a:off x="539552" y="5013176"/>
            <a:ext cx="8291264" cy="1512168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3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Seiji Kumaga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Divisional Director/</a:t>
            </a:r>
            <a:r>
              <a:rPr kumimoji="1" lang="en-US" altLang="ja-JP" sz="2200" b="1" i="1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Uehiro</a:t>
            </a:r>
            <a:r>
              <a:rPr kumimoji="1" lang="en-US" altLang="ja-JP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 Associate Profess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1" lang="en-US" altLang="ja-JP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Kokoro</a:t>
            </a:r>
            <a:r>
              <a:rPr kumimoji="1" lang="en-US" altLang="ja-JP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 Research Center, Kyoto University (JAPAN)</a:t>
            </a:r>
          </a:p>
        </p:txBody>
      </p:sp>
    </p:spTree>
    <p:extLst>
      <p:ext uri="{BB962C8B-B14F-4D97-AF65-F5344CB8AC3E}">
        <p14:creationId xmlns:p14="http://schemas.microsoft.com/office/powerpoint/2010/main" val="1021856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11560" y="1052736"/>
            <a:ext cx="8064896" cy="4248472"/>
          </a:xfrm>
        </p:spPr>
        <p:txBody>
          <a:bodyPr>
            <a:noAutofit/>
          </a:bodyPr>
          <a:lstStyle/>
          <a:p>
            <a:pPr marL="717550" indent="-717550" fontAlgn="ctr">
              <a:buNone/>
            </a:pPr>
            <a:r>
              <a:rPr lang="en-US" altLang="ja-JP" sz="3200" b="1" u="sng" dirty="0">
                <a:solidFill>
                  <a:srgbClr val="FFFF00"/>
                </a:solidFill>
              </a:rPr>
              <a:t>Various disciplines in the 2013 Academic Panel</a:t>
            </a:r>
            <a:endParaRPr lang="en-US" altLang="ja-JP" b="1" dirty="0">
              <a:solidFill>
                <a:srgbClr val="FFC000"/>
              </a:solidFill>
            </a:endParaRPr>
          </a:p>
          <a:p>
            <a:pPr marL="717550" indent="-358775" fontAlgn="ctr">
              <a:spcBef>
                <a:spcPts val="1800"/>
              </a:spcBef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Religion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History/ Biography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Religious Anthropology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Education</a:t>
            </a:r>
          </a:p>
        </p:txBody>
      </p:sp>
      <p:sp>
        <p:nvSpPr>
          <p:cNvPr id="2" name="右中かっこ 1"/>
          <p:cNvSpPr/>
          <p:nvPr/>
        </p:nvSpPr>
        <p:spPr>
          <a:xfrm>
            <a:off x="4644008" y="1938999"/>
            <a:ext cx="576064" cy="1872208"/>
          </a:xfrm>
          <a:prstGeom prst="rightBrace">
            <a:avLst/>
          </a:prstGeom>
          <a:ln w="63500"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4" name="コンテンツ プレースホルダー 2"/>
          <p:cNvSpPr txBox="1">
            <a:spLocks/>
          </p:cNvSpPr>
          <p:nvPr/>
        </p:nvSpPr>
        <p:spPr>
          <a:xfrm>
            <a:off x="5364088" y="2604678"/>
            <a:ext cx="2448272" cy="7644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Human Science</a:t>
            </a:r>
          </a:p>
        </p:txBody>
      </p:sp>
      <p:sp>
        <p:nvSpPr>
          <p:cNvPr id="5" name="コンテンツ プレースホルダー 2"/>
          <p:cNvSpPr txBox="1">
            <a:spLocks/>
          </p:cNvSpPr>
          <p:nvPr/>
        </p:nvSpPr>
        <p:spPr>
          <a:xfrm>
            <a:off x="5004048" y="4676666"/>
            <a:ext cx="3168352" cy="10501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Lack</a:t>
            </a:r>
            <a:r>
              <a:rPr kumimoji="1" lang="en-US" altLang="ja-JP" sz="2800" b="1" i="0" u="none" strike="noStrike" kern="1200" cap="none" spc="0" normalizeH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 of Social and</a:t>
            </a: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 Natural Sciences</a:t>
            </a:r>
          </a:p>
        </p:txBody>
      </p:sp>
      <p:sp>
        <p:nvSpPr>
          <p:cNvPr id="6" name="上下矢印 5"/>
          <p:cNvSpPr/>
          <p:nvPr/>
        </p:nvSpPr>
        <p:spPr>
          <a:xfrm>
            <a:off x="6444208" y="3506421"/>
            <a:ext cx="432048" cy="1117122"/>
          </a:xfrm>
          <a:prstGeom prst="up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414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/>
      <p:bldP spid="5" grpId="0"/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11560" y="836712"/>
            <a:ext cx="8208912" cy="4464496"/>
          </a:xfrm>
        </p:spPr>
        <p:txBody>
          <a:bodyPr>
            <a:noAutofit/>
          </a:bodyPr>
          <a:lstStyle/>
          <a:p>
            <a:pPr marL="717550" indent="-717550" fontAlgn="ctr">
              <a:buNone/>
            </a:pPr>
            <a:r>
              <a:rPr lang="en-US" altLang="ja-JP" sz="3200" b="1" u="sng" dirty="0">
                <a:solidFill>
                  <a:srgbClr val="FFFF00"/>
                </a:solidFill>
              </a:rPr>
              <a:t>Various disciplines in the 2016 Academic Panel</a:t>
            </a:r>
            <a:endParaRPr lang="en-US" altLang="ja-JP" b="1" dirty="0">
              <a:solidFill>
                <a:srgbClr val="FFC000"/>
              </a:solidFill>
            </a:endParaRPr>
          </a:p>
          <a:p>
            <a:pPr marL="717550" indent="-358775" fontAlgn="ctr">
              <a:spcBef>
                <a:spcPts val="1800"/>
              </a:spcBef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Religion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History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Bibliography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Education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Anthropology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Media Studies</a:t>
            </a:r>
          </a:p>
          <a:p>
            <a:pPr marL="717550" indent="-358775" fontAlgn="ctr"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Developmental Studies</a:t>
            </a:r>
          </a:p>
        </p:txBody>
      </p:sp>
      <p:sp>
        <p:nvSpPr>
          <p:cNvPr id="2" name="右中かっこ 1"/>
          <p:cNvSpPr/>
          <p:nvPr/>
        </p:nvSpPr>
        <p:spPr>
          <a:xfrm>
            <a:off x="4716016" y="1772816"/>
            <a:ext cx="576064" cy="3240360"/>
          </a:xfrm>
          <a:prstGeom prst="rightBrace">
            <a:avLst/>
          </a:prstGeom>
          <a:ln w="63500">
            <a:solidFill>
              <a:srgbClr val="00B0F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4" name="コンテンツ プレースホルダー 2"/>
          <p:cNvSpPr txBox="1">
            <a:spLocks/>
          </p:cNvSpPr>
          <p:nvPr/>
        </p:nvSpPr>
        <p:spPr>
          <a:xfrm>
            <a:off x="5436096" y="2888940"/>
            <a:ext cx="2448272" cy="1008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Human Science</a:t>
            </a:r>
          </a:p>
          <a:p>
            <a:pPr marL="0" marR="0" lvl="0" indent="0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Social Science</a:t>
            </a:r>
          </a:p>
        </p:txBody>
      </p:sp>
      <p:sp>
        <p:nvSpPr>
          <p:cNvPr id="5" name="コンテンツ プレースホルダー 2"/>
          <p:cNvSpPr txBox="1">
            <a:spLocks/>
          </p:cNvSpPr>
          <p:nvPr/>
        </p:nvSpPr>
        <p:spPr>
          <a:xfrm>
            <a:off x="5220072" y="5059513"/>
            <a:ext cx="2736304" cy="10501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Lack of </a:t>
            </a:r>
          </a:p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Natural Science</a:t>
            </a:r>
          </a:p>
        </p:txBody>
      </p:sp>
      <p:sp>
        <p:nvSpPr>
          <p:cNvPr id="6" name="上下矢印 5"/>
          <p:cNvSpPr/>
          <p:nvPr/>
        </p:nvSpPr>
        <p:spPr>
          <a:xfrm>
            <a:off x="6444208" y="3896054"/>
            <a:ext cx="432048" cy="1117122"/>
          </a:xfrm>
          <a:prstGeom prst="up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573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/>
      <p:bldP spid="5" grpId="0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9FFBA-DAFA-4759-90F9-65221B46EDAD}" type="slidenum">
              <a:rPr kumimoji="1" lang="ja-JP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graphicFrame>
        <p:nvGraphicFramePr>
          <p:cNvPr id="3" name="図表 2"/>
          <p:cNvGraphicFramePr/>
          <p:nvPr>
            <p:extLst>
              <p:ext uri="{D42A27DB-BD31-4B8C-83A1-F6EECF244321}">
                <p14:modId xmlns:p14="http://schemas.microsoft.com/office/powerpoint/2010/main" val="2710094674"/>
              </p:ext>
            </p:extLst>
          </p:nvPr>
        </p:nvGraphicFramePr>
        <p:xfrm>
          <a:off x="119335" y="768280"/>
          <a:ext cx="9024665" cy="5774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コンテンツ プレースホルダー 2"/>
          <p:cNvSpPr txBox="1">
            <a:spLocks/>
          </p:cNvSpPr>
          <p:nvPr/>
        </p:nvSpPr>
        <p:spPr>
          <a:xfrm>
            <a:off x="323528" y="476672"/>
            <a:ext cx="2304256" cy="10501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Ideal Image of ISBS</a:t>
            </a:r>
          </a:p>
        </p:txBody>
      </p:sp>
    </p:spTree>
    <p:extLst>
      <p:ext uri="{BB962C8B-B14F-4D97-AF65-F5344CB8AC3E}">
        <p14:creationId xmlns:p14="http://schemas.microsoft.com/office/powerpoint/2010/main" val="3941515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67544" y="417154"/>
            <a:ext cx="8136904" cy="936103"/>
          </a:xfrm>
        </p:spPr>
        <p:txBody>
          <a:bodyPr>
            <a:normAutofit/>
          </a:bodyPr>
          <a:lstStyle/>
          <a:p>
            <a:r>
              <a:rPr lang="en-US" altLang="ja-JP" sz="4000" b="1" dirty="0">
                <a:solidFill>
                  <a:srgbClr val="FFFF00"/>
                </a:solidFill>
              </a:rPr>
              <a:t>Related International Associations</a:t>
            </a:r>
            <a:endParaRPr lang="ja-JP" altLang="ja-JP" sz="4000" b="1" dirty="0">
              <a:solidFill>
                <a:srgbClr val="FFFF00"/>
              </a:solidFill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67544" y="1484784"/>
            <a:ext cx="8280920" cy="4824536"/>
          </a:xfrm>
        </p:spPr>
        <p:txBody>
          <a:bodyPr>
            <a:noAutofit/>
          </a:bodyPr>
          <a:lstStyle/>
          <a:p>
            <a:pPr marL="179388" indent="-179388">
              <a:spcBef>
                <a:spcPts val="1200"/>
              </a:spcBef>
              <a:buNone/>
            </a:pPr>
            <a:r>
              <a:rPr lang="en-US" altLang="ja-JP" sz="2800" b="1" u="sng" dirty="0">
                <a:solidFill>
                  <a:schemeClr val="bg1"/>
                </a:solidFill>
              </a:rPr>
              <a:t>INDIA</a:t>
            </a:r>
          </a:p>
          <a:p>
            <a:pPr marL="179388" indent="-179388">
              <a:spcBef>
                <a:spcPts val="1200"/>
              </a:spcBef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IASS (International Association of Sanskrit Studies): limited to Sanskrit language.</a:t>
            </a:r>
          </a:p>
          <a:p>
            <a:pPr marL="179388" indent="-179388">
              <a:spcBef>
                <a:spcPts val="3600"/>
              </a:spcBef>
              <a:buNone/>
            </a:pPr>
            <a:r>
              <a:rPr lang="en-US" altLang="ja-JP" sz="2800" b="1" u="sng" dirty="0">
                <a:solidFill>
                  <a:schemeClr val="bg1"/>
                </a:solidFill>
              </a:rPr>
              <a:t>TIBET</a:t>
            </a:r>
          </a:p>
          <a:p>
            <a:pPr marL="179388" indent="-179388">
              <a:spcBef>
                <a:spcPts val="1200"/>
              </a:spcBef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-IATS (International Association for Tibetan Studies): limited to human &amp; social science.</a:t>
            </a:r>
          </a:p>
          <a:p>
            <a:pPr marL="179388" indent="-179388">
              <a:spcBef>
                <a:spcPts val="1200"/>
              </a:spcBef>
              <a:buNone/>
            </a:pPr>
            <a:endParaRPr lang="en-US" altLang="ja-JP" sz="2800" b="1" u="sng" dirty="0">
              <a:solidFill>
                <a:schemeClr val="bg1"/>
              </a:solidFill>
            </a:endParaRPr>
          </a:p>
          <a:p>
            <a:pPr marL="990600" indent="-990600">
              <a:spcBef>
                <a:spcPts val="1200"/>
              </a:spcBef>
              <a:buNone/>
            </a:pPr>
            <a:r>
              <a:rPr lang="en-US" altLang="ja-JP" sz="2800" dirty="0">
                <a:solidFill>
                  <a:schemeClr val="bg1"/>
                </a:solidFill>
              </a:rPr>
              <a:t>*IABS </a:t>
            </a:r>
            <a:r>
              <a:rPr lang="en-US" altLang="ja-JP" sz="2600" dirty="0">
                <a:solidFill>
                  <a:schemeClr val="bg1"/>
                </a:solidFill>
              </a:rPr>
              <a:t>(International Association of Buddhist Studies; International Association for Bon Studies)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z="1800" b="1" smtClean="0">
                <a:solidFill>
                  <a:schemeClr val="bg1"/>
                </a:solidFill>
              </a:rPr>
              <a:pPr/>
              <a:t>13</a:t>
            </a:fld>
            <a:endParaRPr kumimoji="1" lang="ja-JP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94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05880" y="908720"/>
            <a:ext cx="8280920" cy="5447632"/>
          </a:xfrm>
        </p:spPr>
        <p:txBody>
          <a:bodyPr>
            <a:noAutofit/>
          </a:bodyPr>
          <a:lstStyle/>
          <a:p>
            <a:pPr marL="179388" indent="-179388" algn="ctr">
              <a:spcBef>
                <a:spcPts val="1200"/>
              </a:spcBef>
              <a:buNone/>
            </a:pPr>
            <a:r>
              <a:rPr lang="en-US" altLang="ja-JP" sz="4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 hope </a:t>
            </a:r>
          </a:p>
          <a:p>
            <a:pPr marL="179388" indent="-179388" algn="ctr">
              <a:spcBef>
                <a:spcPts val="3000"/>
              </a:spcBef>
              <a:buNone/>
            </a:pPr>
            <a:r>
              <a:rPr lang="en-US" altLang="ja-JP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1) the </a:t>
            </a:r>
            <a:r>
              <a:rPr lang="en-US" altLang="ja-JP" sz="4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(and future) </a:t>
            </a:r>
            <a:r>
              <a:rPr lang="en-US" altLang="ja-JP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mbers</a:t>
            </a:r>
          </a:p>
          <a:p>
            <a:pPr marL="179388" indent="-179388" algn="ctr">
              <a:spcBef>
                <a:spcPts val="600"/>
              </a:spcBef>
              <a:buNone/>
            </a:pPr>
            <a:r>
              <a:rPr lang="en-US" altLang="ja-JP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ll </a:t>
            </a:r>
            <a:r>
              <a:rPr lang="en-US" altLang="ja-JP" sz="4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ticipate in the ISBS </a:t>
            </a:r>
            <a:endParaRPr lang="en-US" altLang="ja-JP" sz="40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79388" indent="-179388" algn="ctr">
              <a:spcBef>
                <a:spcPts val="600"/>
              </a:spcBef>
              <a:buNone/>
            </a:pPr>
            <a:r>
              <a:rPr lang="en-US" altLang="ja-JP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 </a:t>
            </a:r>
            <a:r>
              <a:rPr lang="en-US" altLang="ja-JP" sz="4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lligence and </a:t>
            </a:r>
            <a:r>
              <a:rPr lang="en-US" altLang="ja-JP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tructively,</a:t>
            </a:r>
            <a:endParaRPr lang="en-US" altLang="ja-JP" sz="40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79388" indent="-179388" algn="ctr">
              <a:spcBef>
                <a:spcPts val="4800"/>
              </a:spcBef>
              <a:buNone/>
            </a:pPr>
            <a:r>
              <a:rPr lang="en-US" altLang="ja-JP" sz="4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2) contributing to the happiness of  society and all sentient beings.</a:t>
            </a:r>
            <a:endParaRPr lang="ja-JP" altLang="ja-JP" sz="40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9FFBA-DAFA-4759-90F9-65221B46EDAD}" type="slidenum">
              <a:rPr kumimoji="1" lang="ja-JP" altLang="en-US" sz="1800" b="1" smtClean="0">
                <a:solidFill>
                  <a:schemeClr val="bg1"/>
                </a:solidFill>
              </a:rPr>
              <a:pPr/>
              <a:t>14</a:t>
            </a:fld>
            <a:endParaRPr kumimoji="1" lang="ja-JP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966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67544" y="2924944"/>
            <a:ext cx="8280920" cy="1296144"/>
          </a:xfrm>
        </p:spPr>
        <p:txBody>
          <a:bodyPr>
            <a:noAutofit/>
          </a:bodyPr>
          <a:lstStyle/>
          <a:p>
            <a:pPr marL="179388" indent="-179388" algn="ctr">
              <a:spcBef>
                <a:spcPts val="1200"/>
              </a:spcBef>
              <a:buNone/>
            </a:pPr>
            <a:r>
              <a:rPr lang="en-US" altLang="ja-JP" sz="4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 for your kind attention!</a:t>
            </a:r>
            <a:endParaRPr lang="ja-JP" altLang="ja-JP" sz="4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9FFBA-DAFA-4759-90F9-65221B46EDAD}" type="slidenum">
              <a:rPr kumimoji="1" lang="ja-JP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0883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538427" y="1845590"/>
            <a:ext cx="3470547" cy="2698218"/>
          </a:xfrm>
          <a:custGeom>
            <a:avLst/>
            <a:gdLst/>
            <a:ahLst/>
            <a:cxnLst>
              <a:cxn ang="0">
                <a:pos x="373" y="1071"/>
              </a:cxn>
              <a:cxn ang="0">
                <a:pos x="385" y="1182"/>
              </a:cxn>
              <a:cxn ang="0">
                <a:pos x="478" y="1358"/>
              </a:cxn>
              <a:cxn ang="0">
                <a:pos x="768" y="1492"/>
              </a:cxn>
              <a:cxn ang="0">
                <a:pos x="1036" y="1552"/>
              </a:cxn>
              <a:cxn ang="0">
                <a:pos x="1124" y="1529"/>
              </a:cxn>
              <a:cxn ang="0">
                <a:pos x="1401" y="1448"/>
              </a:cxn>
              <a:cxn ang="0">
                <a:pos x="1547" y="1542"/>
              </a:cxn>
              <a:cxn ang="0">
                <a:pos x="1577" y="1697"/>
              </a:cxn>
              <a:cxn ang="0">
                <a:pos x="1607" y="1773"/>
              </a:cxn>
              <a:cxn ang="0">
                <a:pos x="1706" y="1912"/>
              </a:cxn>
              <a:cxn ang="0">
                <a:pos x="1842" y="1859"/>
              </a:cxn>
              <a:cxn ang="0">
                <a:pos x="2072" y="1854"/>
              </a:cxn>
              <a:cxn ang="0">
                <a:pos x="2265" y="1983"/>
              </a:cxn>
              <a:cxn ang="0">
                <a:pos x="2357" y="1910"/>
              </a:cxn>
              <a:cxn ang="0">
                <a:pos x="2457" y="1866"/>
              </a:cxn>
              <a:cxn ang="0">
                <a:pos x="2546" y="1826"/>
              </a:cxn>
              <a:cxn ang="0">
                <a:pos x="2683" y="1732"/>
              </a:cxn>
              <a:cxn ang="0">
                <a:pos x="2719" y="1616"/>
              </a:cxn>
              <a:cxn ang="0">
                <a:pos x="2794" y="1420"/>
              </a:cxn>
              <a:cxn ang="0">
                <a:pos x="2705" y="1375"/>
              </a:cxn>
              <a:cxn ang="0">
                <a:pos x="2640" y="1273"/>
              </a:cxn>
              <a:cxn ang="0">
                <a:pos x="2669" y="1227"/>
              </a:cxn>
              <a:cxn ang="0">
                <a:pos x="2532" y="1061"/>
              </a:cxn>
              <a:cxn ang="0">
                <a:pos x="2583" y="993"/>
              </a:cxn>
              <a:cxn ang="0">
                <a:pos x="2453" y="962"/>
              </a:cxn>
              <a:cxn ang="0">
                <a:pos x="2333" y="887"/>
              </a:cxn>
              <a:cxn ang="0">
                <a:pos x="2368" y="836"/>
              </a:cxn>
              <a:cxn ang="0">
                <a:pos x="2443" y="756"/>
              </a:cxn>
              <a:cxn ang="0">
                <a:pos x="2496" y="780"/>
              </a:cxn>
              <a:cxn ang="0">
                <a:pos x="2532" y="853"/>
              </a:cxn>
              <a:cxn ang="0">
                <a:pos x="2689" y="763"/>
              </a:cxn>
              <a:cxn ang="0">
                <a:pos x="2828" y="673"/>
              </a:cxn>
              <a:cxn ang="0">
                <a:pos x="2886" y="564"/>
              </a:cxn>
              <a:cxn ang="0">
                <a:pos x="2928" y="494"/>
              </a:cxn>
              <a:cxn ang="0">
                <a:pos x="2893" y="307"/>
              </a:cxn>
              <a:cxn ang="0">
                <a:pos x="2722" y="341"/>
              </a:cxn>
              <a:cxn ang="0">
                <a:pos x="2461" y="205"/>
              </a:cxn>
              <a:cxn ang="0">
                <a:pos x="2300" y="89"/>
              </a:cxn>
              <a:cxn ang="0">
                <a:pos x="1980" y="53"/>
              </a:cxn>
              <a:cxn ang="0">
                <a:pos x="2007" y="155"/>
              </a:cxn>
              <a:cxn ang="0">
                <a:pos x="1952" y="227"/>
              </a:cxn>
              <a:cxn ang="0">
                <a:pos x="2025" y="350"/>
              </a:cxn>
              <a:cxn ang="0">
                <a:pos x="2146" y="370"/>
              </a:cxn>
              <a:cxn ang="0">
                <a:pos x="2041" y="455"/>
              </a:cxn>
              <a:cxn ang="0">
                <a:pos x="1891" y="570"/>
              </a:cxn>
              <a:cxn ang="0">
                <a:pos x="1630" y="713"/>
              </a:cxn>
              <a:cxn ang="0">
                <a:pos x="1228" y="659"/>
              </a:cxn>
              <a:cxn ang="0">
                <a:pos x="1036" y="560"/>
              </a:cxn>
              <a:cxn ang="0">
                <a:pos x="752" y="495"/>
              </a:cxn>
              <a:cxn ang="0">
                <a:pos x="686" y="379"/>
              </a:cxn>
              <a:cxn ang="0">
                <a:pos x="512" y="299"/>
              </a:cxn>
              <a:cxn ang="0">
                <a:pos x="430" y="311"/>
              </a:cxn>
              <a:cxn ang="0">
                <a:pos x="423" y="388"/>
              </a:cxn>
              <a:cxn ang="0">
                <a:pos x="305" y="382"/>
              </a:cxn>
              <a:cxn ang="0">
                <a:pos x="227" y="507"/>
              </a:cxn>
              <a:cxn ang="0">
                <a:pos x="260" y="595"/>
              </a:cxn>
              <a:cxn ang="0">
                <a:pos x="252" y="716"/>
              </a:cxn>
              <a:cxn ang="0">
                <a:pos x="118" y="781"/>
              </a:cxn>
              <a:cxn ang="0">
                <a:pos x="40" y="894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ln>
            <a:solidFill>
              <a:schemeClr val="bg1">
                <a:lumMod val="95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CHINA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35" name="Freeform 27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140125" y="3756460"/>
            <a:ext cx="583958" cy="320815"/>
          </a:xfrm>
          <a:custGeom>
            <a:avLst/>
            <a:gdLst/>
            <a:ahLst/>
            <a:cxnLst>
              <a:cxn ang="0">
                <a:pos x="86" y="0"/>
              </a:cxn>
              <a:cxn ang="0">
                <a:pos x="92" y="7"/>
              </a:cxn>
              <a:cxn ang="0">
                <a:pos x="102" y="13"/>
              </a:cxn>
              <a:cxn ang="0">
                <a:pos x="125" y="23"/>
              </a:cxn>
              <a:cxn ang="0">
                <a:pos x="159" y="37"/>
              </a:cxn>
              <a:cxn ang="0">
                <a:pos x="223" y="77"/>
              </a:cxn>
              <a:cxn ang="0">
                <a:pos x="253" y="97"/>
              </a:cxn>
              <a:cxn ang="0">
                <a:pos x="283" y="113"/>
              </a:cxn>
              <a:cxn ang="0">
                <a:pos x="316" y="127"/>
              </a:cxn>
              <a:cxn ang="0">
                <a:pos x="355" y="139"/>
              </a:cxn>
              <a:cxn ang="0">
                <a:pos x="399" y="146"/>
              </a:cxn>
              <a:cxn ang="0">
                <a:pos x="451" y="148"/>
              </a:cxn>
              <a:cxn ang="0">
                <a:pos x="452" y="187"/>
              </a:cxn>
              <a:cxn ang="0">
                <a:pos x="459" y="211"/>
              </a:cxn>
              <a:cxn ang="0">
                <a:pos x="467" y="227"/>
              </a:cxn>
              <a:cxn ang="0">
                <a:pos x="467" y="236"/>
              </a:cxn>
              <a:cxn ang="0">
                <a:pos x="451" y="236"/>
              </a:cxn>
              <a:cxn ang="0">
                <a:pos x="416" y="231"/>
              </a:cxn>
              <a:cxn ang="0">
                <a:pos x="362" y="219"/>
              </a:cxn>
              <a:cxn ang="0">
                <a:pos x="315" y="207"/>
              </a:cxn>
              <a:cxn ang="0">
                <a:pos x="294" y="203"/>
              </a:cxn>
              <a:cxn ang="0">
                <a:pos x="287" y="199"/>
              </a:cxn>
              <a:cxn ang="0">
                <a:pos x="277" y="190"/>
              </a:cxn>
              <a:cxn ang="0">
                <a:pos x="267" y="178"/>
              </a:cxn>
              <a:cxn ang="0">
                <a:pos x="255" y="166"/>
              </a:cxn>
              <a:cxn ang="0">
                <a:pos x="240" y="159"/>
              </a:cxn>
              <a:cxn ang="0">
                <a:pos x="227" y="159"/>
              </a:cxn>
              <a:cxn ang="0">
                <a:pos x="205" y="163"/>
              </a:cxn>
              <a:cxn ang="0">
                <a:pos x="183" y="167"/>
              </a:cxn>
              <a:cxn ang="0">
                <a:pos x="169" y="168"/>
              </a:cxn>
              <a:cxn ang="0">
                <a:pos x="158" y="164"/>
              </a:cxn>
              <a:cxn ang="0">
                <a:pos x="148" y="155"/>
              </a:cxn>
              <a:cxn ang="0">
                <a:pos x="139" y="148"/>
              </a:cxn>
              <a:cxn ang="0">
                <a:pos x="122" y="145"/>
              </a:cxn>
              <a:cxn ang="0">
                <a:pos x="92" y="135"/>
              </a:cxn>
              <a:cxn ang="0">
                <a:pos x="48" y="117"/>
              </a:cxn>
              <a:cxn ang="0">
                <a:pos x="12" y="96"/>
              </a:cxn>
              <a:cxn ang="0">
                <a:pos x="7" y="0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ln>
            <a:headEnd/>
            <a:tailE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NEPAL</a:t>
            </a:r>
            <a:endParaRPr kumimoji="1" lang="ja-JP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3" name="Freeform 46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13573" y="3303608"/>
            <a:ext cx="1875042" cy="2273269"/>
          </a:xfrm>
          <a:custGeom>
            <a:avLst/>
            <a:gdLst/>
            <a:ahLst/>
            <a:cxnLst>
              <a:cxn ang="0">
                <a:pos x="477" y="107"/>
              </a:cxn>
              <a:cxn ang="0">
                <a:pos x="485" y="185"/>
              </a:cxn>
              <a:cxn ang="0">
                <a:pos x="578" y="287"/>
              </a:cxn>
              <a:cxn ang="0">
                <a:pos x="701" y="459"/>
              </a:cxn>
              <a:cxn ang="0">
                <a:pos x="795" y="499"/>
              </a:cxn>
              <a:cxn ang="0">
                <a:pos x="877" y="493"/>
              </a:cxn>
              <a:cxn ang="0">
                <a:pos x="930" y="537"/>
              </a:cxn>
              <a:cxn ang="0">
                <a:pos x="1102" y="567"/>
              </a:cxn>
              <a:cxn ang="0">
                <a:pos x="1121" y="461"/>
              </a:cxn>
              <a:cxn ang="0">
                <a:pos x="1179" y="539"/>
              </a:cxn>
              <a:cxn ang="0">
                <a:pos x="1243" y="561"/>
              </a:cxn>
              <a:cxn ang="0">
                <a:pos x="1299" y="498"/>
              </a:cxn>
              <a:cxn ang="0">
                <a:pos x="1404" y="409"/>
              </a:cxn>
              <a:cxn ang="0">
                <a:pos x="1549" y="428"/>
              </a:cxn>
              <a:cxn ang="0">
                <a:pos x="1579" y="498"/>
              </a:cxn>
              <a:cxn ang="0">
                <a:pos x="1504" y="542"/>
              </a:cxn>
              <a:cxn ang="0">
                <a:pos x="1485" y="679"/>
              </a:cxn>
              <a:cxn ang="0">
                <a:pos x="1429" y="704"/>
              </a:cxn>
              <a:cxn ang="0">
                <a:pos x="1408" y="814"/>
              </a:cxn>
              <a:cxn ang="0">
                <a:pos x="1321" y="754"/>
              </a:cxn>
              <a:cxn ang="0">
                <a:pos x="1323" y="698"/>
              </a:cxn>
              <a:cxn ang="0">
                <a:pos x="1225" y="638"/>
              </a:cxn>
              <a:cxn ang="0">
                <a:pos x="1187" y="588"/>
              </a:cxn>
              <a:cxn ang="0">
                <a:pos x="1131" y="575"/>
              </a:cxn>
              <a:cxn ang="0">
                <a:pos x="1127" y="625"/>
              </a:cxn>
              <a:cxn ang="0">
                <a:pos x="1117" y="683"/>
              </a:cxn>
              <a:cxn ang="0">
                <a:pos x="1160" y="735"/>
              </a:cxn>
              <a:cxn ang="0">
                <a:pos x="1149" y="843"/>
              </a:cxn>
              <a:cxn ang="0">
                <a:pos x="1075" y="864"/>
              </a:cxn>
              <a:cxn ang="0">
                <a:pos x="1049" y="937"/>
              </a:cxn>
              <a:cxn ang="0">
                <a:pos x="954" y="1001"/>
              </a:cxn>
              <a:cxn ang="0">
                <a:pos x="912" y="1050"/>
              </a:cxn>
              <a:cxn ang="0">
                <a:pos x="780" y="1188"/>
              </a:cxn>
              <a:cxn ang="0">
                <a:pos x="723" y="1233"/>
              </a:cxn>
              <a:cxn ang="0">
                <a:pos x="744" y="1344"/>
              </a:cxn>
              <a:cxn ang="0">
                <a:pos x="712" y="1445"/>
              </a:cxn>
              <a:cxn ang="0">
                <a:pos x="722" y="1524"/>
              </a:cxn>
              <a:cxn ang="0">
                <a:pos x="693" y="1576"/>
              </a:cxn>
              <a:cxn ang="0">
                <a:pos x="595" y="1663"/>
              </a:cxn>
              <a:cxn ang="0">
                <a:pos x="516" y="1529"/>
              </a:cxn>
              <a:cxn ang="0">
                <a:pos x="419" y="1334"/>
              </a:cxn>
              <a:cxn ang="0">
                <a:pos x="301" y="1114"/>
              </a:cxn>
              <a:cxn ang="0">
                <a:pos x="259" y="861"/>
              </a:cxn>
              <a:cxn ang="0">
                <a:pos x="230" y="814"/>
              </a:cxn>
              <a:cxn ang="0">
                <a:pos x="164" y="900"/>
              </a:cxn>
              <a:cxn ang="0">
                <a:pos x="90" y="876"/>
              </a:cxn>
              <a:cxn ang="0">
                <a:pos x="51" y="798"/>
              </a:cxn>
              <a:cxn ang="0">
                <a:pos x="30" y="771"/>
              </a:cxn>
              <a:cxn ang="0">
                <a:pos x="32" y="708"/>
              </a:cxn>
              <a:cxn ang="0">
                <a:pos x="159" y="659"/>
              </a:cxn>
              <a:cxn ang="0">
                <a:pos x="92" y="569"/>
              </a:cxn>
              <a:cxn ang="0">
                <a:pos x="59" y="500"/>
              </a:cxn>
              <a:cxn ang="0">
                <a:pos x="162" y="459"/>
              </a:cxn>
              <a:cxn ang="0">
                <a:pos x="270" y="294"/>
              </a:cxn>
              <a:cxn ang="0">
                <a:pos x="274" y="230"/>
              </a:cxn>
              <a:cxn ang="0">
                <a:pos x="227" y="142"/>
              </a:cxn>
              <a:cxn ang="0">
                <a:pos x="322" y="54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ln>
            <a:solidFill>
              <a:srgbClr val="99FF33"/>
            </a:solidFill>
            <a:headEnd/>
            <a:tailE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45906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INDIA</a:t>
            </a:r>
          </a:p>
        </p:txBody>
      </p:sp>
      <p:sp>
        <p:nvSpPr>
          <p:cNvPr id="84" name="Freeform 53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913195" y="4156970"/>
            <a:ext cx="116114" cy="206286"/>
          </a:xfrm>
          <a:custGeom>
            <a:avLst/>
            <a:gdLst/>
            <a:ahLst/>
            <a:cxnLst>
              <a:cxn ang="0">
                <a:pos x="100" y="1"/>
              </a:cxn>
              <a:cxn ang="0">
                <a:pos x="100" y="30"/>
              </a:cxn>
              <a:cxn ang="0">
                <a:pos x="100" y="55"/>
              </a:cxn>
              <a:cxn ang="0">
                <a:pos x="100" y="78"/>
              </a:cxn>
              <a:cxn ang="0">
                <a:pos x="100" y="99"/>
              </a:cxn>
              <a:cxn ang="0">
                <a:pos x="98" y="109"/>
              </a:cxn>
              <a:cxn ang="0">
                <a:pos x="94" y="118"/>
              </a:cxn>
              <a:cxn ang="0">
                <a:pos x="89" y="128"/>
              </a:cxn>
              <a:cxn ang="0">
                <a:pos x="82" y="137"/>
              </a:cxn>
              <a:cxn ang="0">
                <a:pos x="73" y="144"/>
              </a:cxn>
              <a:cxn ang="0">
                <a:pos x="62" y="150"/>
              </a:cxn>
              <a:cxn ang="0">
                <a:pos x="57" y="152"/>
              </a:cxn>
              <a:cxn ang="0">
                <a:pos x="51" y="154"/>
              </a:cxn>
              <a:cxn ang="0">
                <a:pos x="46" y="155"/>
              </a:cxn>
              <a:cxn ang="0">
                <a:pos x="39" y="155"/>
              </a:cxn>
              <a:cxn ang="0">
                <a:pos x="35" y="154"/>
              </a:cxn>
              <a:cxn ang="0">
                <a:pos x="30" y="153"/>
              </a:cxn>
              <a:cxn ang="0">
                <a:pos x="26" y="151"/>
              </a:cxn>
              <a:cxn ang="0">
                <a:pos x="22" y="149"/>
              </a:cxn>
              <a:cxn ang="0">
                <a:pos x="15" y="142"/>
              </a:cxn>
              <a:cxn ang="0">
                <a:pos x="9" y="134"/>
              </a:cxn>
              <a:cxn ang="0">
                <a:pos x="5" y="124"/>
              </a:cxn>
              <a:cxn ang="0">
                <a:pos x="2" y="113"/>
              </a:cxn>
              <a:cxn ang="0">
                <a:pos x="0" y="103"/>
              </a:cxn>
              <a:cxn ang="0">
                <a:pos x="0" y="93"/>
              </a:cxn>
              <a:cxn ang="0">
                <a:pos x="0" y="77"/>
              </a:cxn>
              <a:cxn ang="0">
                <a:pos x="0" y="65"/>
              </a:cxn>
              <a:cxn ang="0">
                <a:pos x="0" y="56"/>
              </a:cxn>
              <a:cxn ang="0">
                <a:pos x="0" y="50"/>
              </a:cxn>
              <a:cxn ang="0">
                <a:pos x="15" y="50"/>
              </a:cxn>
              <a:cxn ang="0">
                <a:pos x="26" y="50"/>
              </a:cxn>
              <a:cxn ang="0">
                <a:pos x="26" y="40"/>
              </a:cxn>
              <a:cxn ang="0">
                <a:pos x="27" y="31"/>
              </a:cxn>
              <a:cxn ang="0">
                <a:pos x="29" y="23"/>
              </a:cxn>
              <a:cxn ang="0">
                <a:pos x="31" y="17"/>
              </a:cxn>
              <a:cxn ang="0">
                <a:pos x="35" y="12"/>
              </a:cxn>
              <a:cxn ang="0">
                <a:pos x="39" y="7"/>
              </a:cxn>
              <a:cxn ang="0">
                <a:pos x="42" y="4"/>
              </a:cxn>
              <a:cxn ang="0">
                <a:pos x="48" y="2"/>
              </a:cxn>
              <a:cxn ang="0">
                <a:pos x="59" y="0"/>
              </a:cxn>
              <a:cxn ang="0">
                <a:pos x="71" y="0"/>
              </a:cxn>
              <a:cxn ang="0">
                <a:pos x="84" y="0"/>
              </a:cxn>
              <a:cxn ang="0">
                <a:pos x="100" y="1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grpSp>
        <p:nvGrpSpPr>
          <p:cNvPr id="60" name="グループ化 59"/>
          <p:cNvGrpSpPr/>
          <p:nvPr/>
        </p:nvGrpSpPr>
        <p:grpSpPr>
          <a:xfrm>
            <a:off x="899592" y="2467897"/>
            <a:ext cx="4012420" cy="3271693"/>
            <a:chOff x="5642553" y="2164449"/>
            <a:chExt cx="5349197" cy="4361689"/>
          </a:xfrm>
        </p:grpSpPr>
        <p:sp>
          <p:nvSpPr>
            <p:cNvPr id="39" name="Freeform 277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8193886" y="5591098"/>
              <a:ext cx="481599" cy="451019"/>
            </a:xfrm>
            <a:custGeom>
              <a:avLst/>
              <a:gdLst/>
              <a:ahLst/>
              <a:cxnLst>
                <a:cxn ang="0">
                  <a:pos x="152" y="19"/>
                </a:cxn>
                <a:cxn ang="0">
                  <a:pos x="179" y="30"/>
                </a:cxn>
                <a:cxn ang="0">
                  <a:pos x="196" y="30"/>
                </a:cxn>
                <a:cxn ang="0">
                  <a:pos x="202" y="18"/>
                </a:cxn>
                <a:cxn ang="0">
                  <a:pos x="210" y="10"/>
                </a:cxn>
                <a:cxn ang="0">
                  <a:pos x="219" y="6"/>
                </a:cxn>
                <a:cxn ang="0">
                  <a:pos x="245" y="2"/>
                </a:cxn>
                <a:cxn ang="0">
                  <a:pos x="293" y="80"/>
                </a:cxn>
                <a:cxn ang="0">
                  <a:pos x="266" y="107"/>
                </a:cxn>
                <a:cxn ang="0">
                  <a:pos x="237" y="141"/>
                </a:cxn>
                <a:cxn ang="0">
                  <a:pos x="225" y="159"/>
                </a:cxn>
                <a:cxn ang="0">
                  <a:pos x="215" y="178"/>
                </a:cxn>
                <a:cxn ang="0">
                  <a:pos x="209" y="197"/>
                </a:cxn>
                <a:cxn ang="0">
                  <a:pos x="206" y="216"/>
                </a:cxn>
                <a:cxn ang="0">
                  <a:pos x="196" y="217"/>
                </a:cxn>
                <a:cxn ang="0">
                  <a:pos x="186" y="220"/>
                </a:cxn>
                <a:cxn ang="0">
                  <a:pos x="170" y="229"/>
                </a:cxn>
                <a:cxn ang="0">
                  <a:pos x="154" y="239"/>
                </a:cxn>
                <a:cxn ang="0">
                  <a:pos x="133" y="246"/>
                </a:cxn>
                <a:cxn ang="0">
                  <a:pos x="102" y="240"/>
                </a:cxn>
                <a:cxn ang="0">
                  <a:pos x="71" y="232"/>
                </a:cxn>
                <a:cxn ang="0">
                  <a:pos x="59" y="226"/>
                </a:cxn>
                <a:cxn ang="0">
                  <a:pos x="49" y="220"/>
                </a:cxn>
                <a:cxn ang="0">
                  <a:pos x="43" y="212"/>
                </a:cxn>
                <a:cxn ang="0">
                  <a:pos x="41" y="204"/>
                </a:cxn>
                <a:cxn ang="0">
                  <a:pos x="47" y="178"/>
                </a:cxn>
                <a:cxn ang="0">
                  <a:pos x="45" y="162"/>
                </a:cxn>
                <a:cxn ang="0">
                  <a:pos x="40" y="147"/>
                </a:cxn>
                <a:cxn ang="0">
                  <a:pos x="24" y="119"/>
                </a:cxn>
                <a:cxn ang="0">
                  <a:pos x="8" y="91"/>
                </a:cxn>
                <a:cxn ang="0">
                  <a:pos x="2" y="74"/>
                </a:cxn>
                <a:cxn ang="0">
                  <a:pos x="0" y="55"/>
                </a:cxn>
                <a:cxn ang="0">
                  <a:pos x="2" y="45"/>
                </a:cxn>
                <a:cxn ang="0">
                  <a:pos x="8" y="36"/>
                </a:cxn>
                <a:cxn ang="0">
                  <a:pos x="17" y="29"/>
                </a:cxn>
                <a:cxn ang="0">
                  <a:pos x="26" y="22"/>
                </a:cxn>
                <a:cxn ang="0">
                  <a:pos x="48" y="14"/>
                </a:cxn>
                <a:cxn ang="0">
                  <a:pos x="67" y="12"/>
                </a:cxn>
                <a:cxn ang="0">
                  <a:pos x="96" y="12"/>
                </a:cxn>
                <a:cxn ang="0">
                  <a:pos x="133" y="12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ln>
              <a:solidFill>
                <a:srgbClr val="99FF33"/>
              </a:solidFill>
              <a:headEnd/>
              <a:tailE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endParaRPr>
            </a:p>
          </p:txBody>
        </p:sp>
        <p:grpSp>
          <p:nvGrpSpPr>
            <p:cNvPr id="59" name="グループ化 58"/>
            <p:cNvGrpSpPr/>
            <p:nvPr/>
          </p:nvGrpSpPr>
          <p:grpSpPr>
            <a:xfrm>
              <a:off x="5642553" y="2164449"/>
              <a:ext cx="5349197" cy="4361689"/>
              <a:chOff x="5642553" y="2164449"/>
              <a:chExt cx="5349197" cy="4361689"/>
            </a:xfrm>
          </p:grpSpPr>
          <p:sp>
            <p:nvSpPr>
              <p:cNvPr id="7" name="Freeform 24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7723753" y="4947568"/>
                <a:ext cx="751064" cy="1578570"/>
              </a:xfrm>
              <a:custGeom>
                <a:avLst/>
                <a:gdLst/>
                <a:ahLst/>
                <a:cxnLst>
                  <a:cxn ang="0">
                    <a:pos x="379" y="357"/>
                  </a:cxn>
                  <a:cxn ang="0">
                    <a:pos x="333" y="370"/>
                  </a:cxn>
                  <a:cxn ang="0">
                    <a:pos x="314" y="390"/>
                  </a:cxn>
                  <a:cxn ang="0">
                    <a:pos x="316" y="428"/>
                  </a:cxn>
                  <a:cxn ang="0">
                    <a:pos x="352" y="492"/>
                  </a:cxn>
                  <a:cxn ang="0">
                    <a:pos x="359" y="530"/>
                  </a:cxn>
                  <a:cxn ang="0">
                    <a:pos x="366" y="555"/>
                  </a:cxn>
                  <a:cxn ang="0">
                    <a:pos x="323" y="526"/>
                  </a:cxn>
                  <a:cxn ang="0">
                    <a:pos x="309" y="492"/>
                  </a:cxn>
                  <a:cxn ang="0">
                    <a:pos x="269" y="467"/>
                  </a:cxn>
                  <a:cxn ang="0">
                    <a:pos x="210" y="439"/>
                  </a:cxn>
                  <a:cxn ang="0">
                    <a:pos x="193" y="406"/>
                  </a:cxn>
                  <a:cxn ang="0">
                    <a:pos x="156" y="477"/>
                  </a:cxn>
                  <a:cxn ang="0">
                    <a:pos x="156" y="524"/>
                  </a:cxn>
                  <a:cxn ang="0">
                    <a:pos x="132" y="575"/>
                  </a:cxn>
                  <a:cxn ang="0">
                    <a:pos x="128" y="621"/>
                  </a:cxn>
                  <a:cxn ang="0">
                    <a:pos x="154" y="650"/>
                  </a:cxn>
                  <a:cxn ang="0">
                    <a:pos x="175" y="685"/>
                  </a:cxn>
                  <a:cxn ang="0">
                    <a:pos x="185" y="730"/>
                  </a:cxn>
                  <a:cxn ang="0">
                    <a:pos x="226" y="780"/>
                  </a:cxn>
                  <a:cxn ang="0">
                    <a:pos x="281" y="825"/>
                  </a:cxn>
                  <a:cxn ang="0">
                    <a:pos x="340" y="850"/>
                  </a:cxn>
                  <a:cxn ang="0">
                    <a:pos x="298" y="867"/>
                  </a:cxn>
                  <a:cxn ang="0">
                    <a:pos x="269" y="864"/>
                  </a:cxn>
                  <a:cxn ang="0">
                    <a:pos x="229" y="841"/>
                  </a:cxn>
                  <a:cxn ang="0">
                    <a:pos x="200" y="823"/>
                  </a:cxn>
                  <a:cxn ang="0">
                    <a:pos x="137" y="759"/>
                  </a:cxn>
                  <a:cxn ang="0">
                    <a:pos x="83" y="730"/>
                  </a:cxn>
                  <a:cxn ang="0">
                    <a:pos x="74" y="688"/>
                  </a:cxn>
                  <a:cxn ang="0">
                    <a:pos x="80" y="653"/>
                  </a:cxn>
                  <a:cxn ang="0">
                    <a:pos x="88" y="617"/>
                  </a:cxn>
                  <a:cxn ang="0">
                    <a:pos x="120" y="498"/>
                  </a:cxn>
                  <a:cxn ang="0">
                    <a:pos x="108" y="404"/>
                  </a:cxn>
                  <a:cxn ang="0">
                    <a:pos x="62" y="319"/>
                  </a:cxn>
                  <a:cxn ang="0">
                    <a:pos x="64" y="285"/>
                  </a:cxn>
                  <a:cxn ang="0">
                    <a:pos x="74" y="265"/>
                  </a:cxn>
                  <a:cxn ang="0">
                    <a:pos x="56" y="202"/>
                  </a:cxn>
                  <a:cxn ang="0">
                    <a:pos x="23" y="158"/>
                  </a:cxn>
                  <a:cxn ang="0">
                    <a:pos x="1" y="102"/>
                  </a:cxn>
                  <a:cxn ang="0">
                    <a:pos x="11" y="44"/>
                  </a:cxn>
                  <a:cxn ang="0">
                    <a:pos x="49" y="16"/>
                  </a:cxn>
                  <a:cxn ang="0">
                    <a:pos x="120" y="0"/>
                  </a:cxn>
                  <a:cxn ang="0">
                    <a:pos x="156" y="28"/>
                  </a:cxn>
                  <a:cxn ang="0">
                    <a:pos x="179" y="36"/>
                  </a:cxn>
                  <a:cxn ang="0">
                    <a:pos x="197" y="136"/>
                  </a:cxn>
                  <a:cxn ang="0">
                    <a:pos x="213" y="166"/>
                  </a:cxn>
                  <a:cxn ang="0">
                    <a:pos x="231" y="155"/>
                  </a:cxn>
                  <a:cxn ang="0">
                    <a:pos x="258" y="126"/>
                  </a:cxn>
                  <a:cxn ang="0">
                    <a:pos x="281" y="141"/>
                  </a:cxn>
                  <a:cxn ang="0">
                    <a:pos x="298" y="136"/>
                  </a:cxn>
                  <a:cxn ang="0">
                    <a:pos x="316" y="108"/>
                  </a:cxn>
                  <a:cxn ang="0">
                    <a:pos x="346" y="108"/>
                  </a:cxn>
                  <a:cxn ang="0">
                    <a:pos x="387" y="157"/>
                  </a:cxn>
                  <a:cxn ang="0">
                    <a:pos x="454" y="246"/>
                  </a:cxn>
                  <a:cxn ang="0">
                    <a:pos x="478" y="307"/>
                  </a:cxn>
                  <a:cxn ang="0">
                    <a:pos x="468" y="338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26" name="Freeform 109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0842683" y="2274454"/>
                <a:ext cx="17199" cy="203511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1" y="5"/>
                  </a:cxn>
                  <a:cxn ang="0">
                    <a:pos x="10" y="12"/>
                  </a:cxn>
                  <a:cxn ang="0">
                    <a:pos x="9" y="20"/>
                  </a:cxn>
                  <a:cxn ang="0">
                    <a:pos x="4" y="25"/>
                  </a:cxn>
                  <a:cxn ang="0">
                    <a:pos x="2" y="23"/>
                  </a:cxn>
                  <a:cxn ang="0">
                    <a:pos x="1" y="20"/>
                  </a:cxn>
                  <a:cxn ang="0">
                    <a:pos x="0" y="15"/>
                  </a:cxn>
                  <a:cxn ang="0">
                    <a:pos x="0" y="12"/>
                  </a:cxn>
                  <a:cxn ang="0">
                    <a:pos x="1" y="9"/>
                  </a:cxn>
                  <a:cxn ang="0">
                    <a:pos x="3" y="5"/>
                  </a:cxn>
                  <a:cxn ang="0">
                    <a:pos x="6" y="2"/>
                  </a:cxn>
                  <a:cxn ang="0">
                    <a:pos x="11" y="0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27" name="Freeform 110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0171883" y="4221537"/>
                <a:ext cx="51602" cy="203511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16" y="12"/>
                  </a:cxn>
                  <a:cxn ang="0">
                    <a:pos x="10" y="20"/>
                  </a:cxn>
                  <a:cxn ang="0">
                    <a:pos x="5" y="26"/>
                  </a:cxn>
                  <a:cxn ang="0">
                    <a:pos x="0" y="31"/>
                  </a:cxn>
                  <a:cxn ang="0">
                    <a:pos x="0" y="25"/>
                  </a:cxn>
                  <a:cxn ang="0">
                    <a:pos x="1" y="19"/>
                  </a:cxn>
                  <a:cxn ang="0">
                    <a:pos x="2" y="13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1" y="3"/>
                  </a:cxn>
                  <a:cxn ang="0">
                    <a:pos x="16" y="0"/>
                  </a:cxn>
                  <a:cxn ang="0">
                    <a:pos x="20" y="0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28" name="Freeform 1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0234951" y="3996029"/>
                <a:ext cx="57334" cy="198008"/>
              </a:xfrm>
              <a:custGeom>
                <a:avLst/>
                <a:gdLst/>
                <a:ahLst/>
                <a:cxnLst>
                  <a:cxn ang="0">
                    <a:pos x="13" y="37"/>
                  </a:cxn>
                  <a:cxn ang="0">
                    <a:pos x="0" y="12"/>
                  </a:cxn>
                  <a:cxn ang="0">
                    <a:pos x="6" y="7"/>
                  </a:cxn>
                  <a:cxn ang="0">
                    <a:pos x="13" y="4"/>
                  </a:cxn>
                  <a:cxn ang="0">
                    <a:pos x="21" y="1"/>
                  </a:cxn>
                  <a:cxn ang="0">
                    <a:pos x="26" y="0"/>
                  </a:cxn>
                  <a:cxn ang="0">
                    <a:pos x="26" y="6"/>
                  </a:cxn>
                  <a:cxn ang="0">
                    <a:pos x="25" y="11"/>
                  </a:cxn>
                  <a:cxn ang="0">
                    <a:pos x="24" y="17"/>
                  </a:cxn>
                  <a:cxn ang="0">
                    <a:pos x="23" y="21"/>
                  </a:cxn>
                  <a:cxn ang="0">
                    <a:pos x="18" y="29"/>
                  </a:cxn>
                  <a:cxn ang="0">
                    <a:pos x="13" y="37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33" name="Freeform 262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7156152" y="4062032"/>
                <a:ext cx="796934" cy="2029585"/>
              </a:xfrm>
              <a:custGeom>
                <a:avLst/>
                <a:gdLst/>
                <a:ahLst/>
                <a:cxnLst>
                  <a:cxn ang="0">
                    <a:pos x="438" y="1067"/>
                  </a:cxn>
                  <a:cxn ang="0">
                    <a:pos x="443" y="1028"/>
                  </a:cxn>
                  <a:cxn ang="0">
                    <a:pos x="399" y="1022"/>
                  </a:cxn>
                  <a:cxn ang="0">
                    <a:pos x="405" y="957"/>
                  </a:cxn>
                  <a:cxn ang="0">
                    <a:pos x="419" y="931"/>
                  </a:cxn>
                  <a:cxn ang="0">
                    <a:pos x="413" y="899"/>
                  </a:cxn>
                  <a:cxn ang="0">
                    <a:pos x="398" y="893"/>
                  </a:cxn>
                  <a:cxn ang="0">
                    <a:pos x="382" y="838"/>
                  </a:cxn>
                  <a:cxn ang="0">
                    <a:pos x="324" y="719"/>
                  </a:cxn>
                  <a:cxn ang="0">
                    <a:pos x="296" y="703"/>
                  </a:cxn>
                  <a:cxn ang="0">
                    <a:pos x="282" y="718"/>
                  </a:cxn>
                  <a:cxn ang="0">
                    <a:pos x="226" y="742"/>
                  </a:cxn>
                  <a:cxn ang="0">
                    <a:pos x="169" y="736"/>
                  </a:cxn>
                  <a:cxn ang="0">
                    <a:pos x="133" y="567"/>
                  </a:cxn>
                  <a:cxn ang="0">
                    <a:pos x="101" y="520"/>
                  </a:cxn>
                  <a:cxn ang="0">
                    <a:pos x="51" y="502"/>
                  </a:cxn>
                  <a:cxn ang="0">
                    <a:pos x="8" y="471"/>
                  </a:cxn>
                  <a:cxn ang="0">
                    <a:pos x="23" y="445"/>
                  </a:cxn>
                  <a:cxn ang="0">
                    <a:pos x="58" y="361"/>
                  </a:cxn>
                  <a:cxn ang="0">
                    <a:pos x="67" y="277"/>
                  </a:cxn>
                  <a:cxn ang="0">
                    <a:pos x="80" y="265"/>
                  </a:cxn>
                  <a:cxn ang="0">
                    <a:pos x="113" y="258"/>
                  </a:cxn>
                  <a:cxn ang="0">
                    <a:pos x="134" y="222"/>
                  </a:cxn>
                  <a:cxn ang="0">
                    <a:pos x="140" y="117"/>
                  </a:cxn>
                  <a:cxn ang="0">
                    <a:pos x="159" y="98"/>
                  </a:cxn>
                  <a:cxn ang="0">
                    <a:pos x="213" y="74"/>
                  </a:cxn>
                  <a:cxn ang="0">
                    <a:pos x="234" y="21"/>
                  </a:cxn>
                  <a:cxn ang="0">
                    <a:pos x="277" y="31"/>
                  </a:cxn>
                  <a:cxn ang="0">
                    <a:pos x="312" y="49"/>
                  </a:cxn>
                  <a:cxn ang="0">
                    <a:pos x="337" y="122"/>
                  </a:cxn>
                  <a:cxn ang="0">
                    <a:pos x="335" y="167"/>
                  </a:cxn>
                  <a:cxn ang="0">
                    <a:pos x="300" y="216"/>
                  </a:cxn>
                  <a:cxn ang="0">
                    <a:pos x="293" y="245"/>
                  </a:cxn>
                  <a:cxn ang="0">
                    <a:pos x="309" y="261"/>
                  </a:cxn>
                  <a:cxn ang="0">
                    <a:pos x="346" y="270"/>
                  </a:cxn>
                  <a:cxn ang="0">
                    <a:pos x="371" y="291"/>
                  </a:cxn>
                  <a:cxn ang="0">
                    <a:pos x="398" y="345"/>
                  </a:cxn>
                  <a:cxn ang="0">
                    <a:pos x="430" y="400"/>
                  </a:cxn>
                  <a:cxn ang="0">
                    <a:pos x="464" y="418"/>
                  </a:cxn>
                  <a:cxn ang="0">
                    <a:pos x="505" y="418"/>
                  </a:cxn>
                  <a:cxn ang="0">
                    <a:pos x="476" y="494"/>
                  </a:cxn>
                  <a:cxn ang="0">
                    <a:pos x="427" y="510"/>
                  </a:cxn>
                  <a:cxn ang="0">
                    <a:pos x="383" y="528"/>
                  </a:cxn>
                  <a:cxn ang="0">
                    <a:pos x="360" y="572"/>
                  </a:cxn>
                  <a:cxn ang="0">
                    <a:pos x="370" y="637"/>
                  </a:cxn>
                  <a:cxn ang="0">
                    <a:pos x="402" y="683"/>
                  </a:cxn>
                  <a:cxn ang="0">
                    <a:pos x="430" y="735"/>
                  </a:cxn>
                  <a:cxn ang="0">
                    <a:pos x="428" y="776"/>
                  </a:cxn>
                  <a:cxn ang="0">
                    <a:pos x="419" y="801"/>
                  </a:cxn>
                  <a:cxn ang="0">
                    <a:pos x="435" y="851"/>
                  </a:cxn>
                  <a:cxn ang="0">
                    <a:pos x="483" y="965"/>
                  </a:cxn>
                  <a:cxn ang="0">
                    <a:pos x="458" y="1082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ln>
                <a:solidFill>
                  <a:srgbClr val="99FF3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34" name="Freeform 272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9357750" y="2444963"/>
                <a:ext cx="435733" cy="594026"/>
              </a:xfrm>
              <a:custGeom>
                <a:avLst/>
                <a:gdLst/>
                <a:ahLst/>
                <a:cxnLst>
                  <a:cxn ang="0">
                    <a:pos x="240" y="9"/>
                  </a:cxn>
                  <a:cxn ang="0">
                    <a:pos x="240" y="28"/>
                  </a:cxn>
                  <a:cxn ang="0">
                    <a:pos x="249" y="42"/>
                  </a:cxn>
                  <a:cxn ang="0">
                    <a:pos x="245" y="55"/>
                  </a:cxn>
                  <a:cxn ang="0">
                    <a:pos x="225" y="50"/>
                  </a:cxn>
                  <a:cxn ang="0">
                    <a:pos x="210" y="51"/>
                  </a:cxn>
                  <a:cxn ang="0">
                    <a:pos x="195" y="65"/>
                  </a:cxn>
                  <a:cxn ang="0">
                    <a:pos x="193" y="78"/>
                  </a:cxn>
                  <a:cxn ang="0">
                    <a:pos x="198" y="89"/>
                  </a:cxn>
                  <a:cxn ang="0">
                    <a:pos x="215" y="110"/>
                  </a:cxn>
                  <a:cxn ang="0">
                    <a:pos x="224" y="122"/>
                  </a:cxn>
                  <a:cxn ang="0">
                    <a:pos x="225" y="133"/>
                  </a:cxn>
                  <a:cxn ang="0">
                    <a:pos x="222" y="143"/>
                  </a:cxn>
                  <a:cxn ang="0">
                    <a:pos x="207" y="154"/>
                  </a:cxn>
                  <a:cxn ang="0">
                    <a:pos x="200" y="160"/>
                  </a:cxn>
                  <a:cxn ang="0">
                    <a:pos x="181" y="166"/>
                  </a:cxn>
                  <a:cxn ang="0">
                    <a:pos x="164" y="178"/>
                  </a:cxn>
                  <a:cxn ang="0">
                    <a:pos x="160" y="191"/>
                  </a:cxn>
                  <a:cxn ang="0">
                    <a:pos x="173" y="207"/>
                  </a:cxn>
                  <a:cxn ang="0">
                    <a:pos x="189" y="215"/>
                  </a:cxn>
                  <a:cxn ang="0">
                    <a:pos x="214" y="227"/>
                  </a:cxn>
                  <a:cxn ang="0">
                    <a:pos x="245" y="259"/>
                  </a:cxn>
                  <a:cxn ang="0">
                    <a:pos x="251" y="285"/>
                  </a:cxn>
                  <a:cxn ang="0">
                    <a:pos x="220" y="291"/>
                  </a:cxn>
                  <a:cxn ang="0">
                    <a:pos x="207" y="298"/>
                  </a:cxn>
                  <a:cxn ang="0">
                    <a:pos x="198" y="312"/>
                  </a:cxn>
                  <a:cxn ang="0">
                    <a:pos x="189" y="326"/>
                  </a:cxn>
                  <a:cxn ang="0">
                    <a:pos x="170" y="321"/>
                  </a:cxn>
                  <a:cxn ang="0">
                    <a:pos x="167" y="316"/>
                  </a:cxn>
                  <a:cxn ang="0">
                    <a:pos x="154" y="310"/>
                  </a:cxn>
                  <a:cxn ang="0">
                    <a:pos x="139" y="301"/>
                  </a:cxn>
                  <a:cxn ang="0">
                    <a:pos x="126" y="295"/>
                  </a:cxn>
                  <a:cxn ang="0">
                    <a:pos x="98" y="290"/>
                  </a:cxn>
                  <a:cxn ang="0">
                    <a:pos x="63" y="277"/>
                  </a:cxn>
                  <a:cxn ang="0">
                    <a:pos x="54" y="268"/>
                  </a:cxn>
                  <a:cxn ang="0">
                    <a:pos x="55" y="256"/>
                  </a:cxn>
                  <a:cxn ang="0">
                    <a:pos x="70" y="244"/>
                  </a:cxn>
                  <a:cxn ang="0">
                    <a:pos x="59" y="221"/>
                  </a:cxn>
                  <a:cxn ang="0">
                    <a:pos x="34" y="194"/>
                  </a:cxn>
                  <a:cxn ang="0">
                    <a:pos x="13" y="182"/>
                  </a:cxn>
                  <a:cxn ang="0">
                    <a:pos x="4" y="171"/>
                  </a:cxn>
                  <a:cxn ang="0">
                    <a:pos x="19" y="152"/>
                  </a:cxn>
                  <a:cxn ang="0">
                    <a:pos x="54" y="124"/>
                  </a:cxn>
                  <a:cxn ang="0">
                    <a:pos x="73" y="105"/>
                  </a:cxn>
                  <a:cxn ang="0">
                    <a:pos x="88" y="92"/>
                  </a:cxn>
                  <a:cxn ang="0">
                    <a:pos x="110" y="88"/>
                  </a:cxn>
                  <a:cxn ang="0">
                    <a:pos x="144" y="70"/>
                  </a:cxn>
                  <a:cxn ang="0">
                    <a:pos x="168" y="46"/>
                  </a:cxn>
                  <a:cxn ang="0">
                    <a:pos x="191" y="21"/>
                  </a:cxn>
                  <a:cxn ang="0">
                    <a:pos x="220" y="4"/>
                  </a:cxn>
                  <a:cxn ang="0">
                    <a:pos x="238" y="0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37" name="Freeform 275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749087" y="4320542"/>
                <a:ext cx="481599" cy="577526"/>
              </a:xfrm>
              <a:custGeom>
                <a:avLst/>
                <a:gdLst/>
                <a:ahLst/>
                <a:cxnLst>
                  <a:cxn ang="0">
                    <a:pos x="259" y="160"/>
                  </a:cxn>
                  <a:cxn ang="0">
                    <a:pos x="252" y="173"/>
                  </a:cxn>
                  <a:cxn ang="0">
                    <a:pos x="243" y="182"/>
                  </a:cxn>
                  <a:cxn ang="0">
                    <a:pos x="233" y="186"/>
                  </a:cxn>
                  <a:cxn ang="0">
                    <a:pos x="223" y="184"/>
                  </a:cxn>
                  <a:cxn ang="0">
                    <a:pos x="214" y="178"/>
                  </a:cxn>
                  <a:cxn ang="0">
                    <a:pos x="209" y="169"/>
                  </a:cxn>
                  <a:cxn ang="0">
                    <a:pos x="206" y="160"/>
                  </a:cxn>
                  <a:cxn ang="0">
                    <a:pos x="209" y="148"/>
                  </a:cxn>
                  <a:cxn ang="0">
                    <a:pos x="213" y="136"/>
                  </a:cxn>
                  <a:cxn ang="0">
                    <a:pos x="230" y="114"/>
                  </a:cxn>
                  <a:cxn ang="0">
                    <a:pos x="246" y="93"/>
                  </a:cxn>
                  <a:cxn ang="0">
                    <a:pos x="250" y="82"/>
                  </a:cxn>
                  <a:cxn ang="0">
                    <a:pos x="253" y="69"/>
                  </a:cxn>
                  <a:cxn ang="0">
                    <a:pos x="129" y="68"/>
                  </a:cxn>
                  <a:cxn ang="0">
                    <a:pos x="119" y="59"/>
                  </a:cxn>
                  <a:cxn ang="0">
                    <a:pos x="112" y="45"/>
                  </a:cxn>
                  <a:cxn ang="0">
                    <a:pos x="108" y="28"/>
                  </a:cxn>
                  <a:cxn ang="0">
                    <a:pos x="101" y="19"/>
                  </a:cxn>
                  <a:cxn ang="0">
                    <a:pos x="90" y="17"/>
                  </a:cxn>
                  <a:cxn ang="0">
                    <a:pos x="80" y="12"/>
                  </a:cxn>
                  <a:cxn ang="0">
                    <a:pos x="75" y="4"/>
                  </a:cxn>
                  <a:cxn ang="0">
                    <a:pos x="65" y="0"/>
                  </a:cxn>
                  <a:cxn ang="0">
                    <a:pos x="49" y="0"/>
                  </a:cxn>
                  <a:cxn ang="0">
                    <a:pos x="34" y="1"/>
                  </a:cxn>
                  <a:cxn ang="0">
                    <a:pos x="22" y="5"/>
                  </a:cxn>
                  <a:cxn ang="0">
                    <a:pos x="10" y="14"/>
                  </a:cxn>
                  <a:cxn ang="0">
                    <a:pos x="1" y="25"/>
                  </a:cxn>
                  <a:cxn ang="0">
                    <a:pos x="2" y="35"/>
                  </a:cxn>
                  <a:cxn ang="0">
                    <a:pos x="15" y="46"/>
                  </a:cxn>
                  <a:cxn ang="0">
                    <a:pos x="35" y="58"/>
                  </a:cxn>
                  <a:cxn ang="0">
                    <a:pos x="54" y="67"/>
                  </a:cxn>
                  <a:cxn ang="0">
                    <a:pos x="47" y="79"/>
                  </a:cxn>
                  <a:cxn ang="0">
                    <a:pos x="25" y="97"/>
                  </a:cxn>
                  <a:cxn ang="0">
                    <a:pos x="17" y="107"/>
                  </a:cxn>
                  <a:cxn ang="0">
                    <a:pos x="14" y="114"/>
                  </a:cxn>
                  <a:cxn ang="0">
                    <a:pos x="14" y="122"/>
                  </a:cxn>
                  <a:cxn ang="0">
                    <a:pos x="18" y="129"/>
                  </a:cxn>
                  <a:cxn ang="0">
                    <a:pos x="28" y="141"/>
                  </a:cxn>
                  <a:cxn ang="0">
                    <a:pos x="47" y="156"/>
                  </a:cxn>
                  <a:cxn ang="0">
                    <a:pos x="64" y="164"/>
                  </a:cxn>
                  <a:cxn ang="0">
                    <a:pos x="75" y="166"/>
                  </a:cxn>
                  <a:cxn ang="0">
                    <a:pos x="107" y="271"/>
                  </a:cxn>
                  <a:cxn ang="0">
                    <a:pos x="108" y="263"/>
                  </a:cxn>
                  <a:cxn ang="0">
                    <a:pos x="112" y="256"/>
                  </a:cxn>
                  <a:cxn ang="0">
                    <a:pos x="127" y="246"/>
                  </a:cxn>
                  <a:cxn ang="0">
                    <a:pos x="148" y="240"/>
                  </a:cxn>
                  <a:cxn ang="0">
                    <a:pos x="174" y="235"/>
                  </a:cxn>
                  <a:cxn ang="0">
                    <a:pos x="174" y="210"/>
                  </a:cxn>
                  <a:cxn ang="0">
                    <a:pos x="183" y="212"/>
                  </a:cxn>
                  <a:cxn ang="0">
                    <a:pos x="193" y="212"/>
                  </a:cxn>
                  <a:cxn ang="0">
                    <a:pos x="213" y="210"/>
                  </a:cxn>
                  <a:cxn ang="0">
                    <a:pos x="232" y="261"/>
                  </a:cxn>
                  <a:cxn ang="0">
                    <a:pos x="259" y="321"/>
                  </a:cxn>
                  <a:cxn ang="0">
                    <a:pos x="272" y="311"/>
                  </a:cxn>
                  <a:cxn ang="0">
                    <a:pos x="282" y="302"/>
                  </a:cxn>
                  <a:cxn ang="0">
                    <a:pos x="295" y="280"/>
                  </a:cxn>
                  <a:cxn ang="0">
                    <a:pos x="306" y="23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38" name="Freeform 276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7895753" y="4722061"/>
                <a:ext cx="728131" cy="935040"/>
              </a:xfrm>
              <a:custGeom>
                <a:avLst/>
                <a:gdLst/>
                <a:ahLst/>
                <a:cxnLst>
                  <a:cxn ang="0">
                    <a:pos x="94" y="12"/>
                  </a:cxn>
                  <a:cxn ang="0">
                    <a:pos x="67" y="32"/>
                  </a:cxn>
                  <a:cxn ang="0">
                    <a:pos x="40" y="49"/>
                  </a:cxn>
                  <a:cxn ang="0">
                    <a:pos x="27" y="82"/>
                  </a:cxn>
                  <a:cxn ang="0">
                    <a:pos x="8" y="118"/>
                  </a:cxn>
                  <a:cxn ang="0">
                    <a:pos x="7" y="136"/>
                  </a:cxn>
                  <a:cxn ang="0">
                    <a:pos x="30" y="153"/>
                  </a:cxn>
                  <a:cxn ang="0">
                    <a:pos x="50" y="168"/>
                  </a:cxn>
                  <a:cxn ang="0">
                    <a:pos x="62" y="172"/>
                  </a:cxn>
                  <a:cxn ang="0">
                    <a:pos x="75" y="211"/>
                  </a:cxn>
                  <a:cxn ang="0">
                    <a:pos x="84" y="272"/>
                  </a:cxn>
                  <a:cxn ang="0">
                    <a:pos x="94" y="299"/>
                  </a:cxn>
                  <a:cxn ang="0">
                    <a:pos x="104" y="302"/>
                  </a:cxn>
                  <a:cxn ang="0">
                    <a:pos x="112" y="297"/>
                  </a:cxn>
                  <a:cxn ang="0">
                    <a:pos x="128" y="268"/>
                  </a:cxn>
                  <a:cxn ang="0">
                    <a:pos x="145" y="262"/>
                  </a:cxn>
                  <a:cxn ang="0">
                    <a:pos x="160" y="272"/>
                  </a:cxn>
                  <a:cxn ang="0">
                    <a:pos x="173" y="277"/>
                  </a:cxn>
                  <a:cxn ang="0">
                    <a:pos x="183" y="274"/>
                  </a:cxn>
                  <a:cxn ang="0">
                    <a:pos x="192" y="259"/>
                  </a:cxn>
                  <a:cxn ang="0">
                    <a:pos x="203" y="244"/>
                  </a:cxn>
                  <a:cxn ang="0">
                    <a:pos x="212" y="241"/>
                  </a:cxn>
                  <a:cxn ang="0">
                    <a:pos x="241" y="247"/>
                  </a:cxn>
                  <a:cxn ang="0">
                    <a:pos x="259" y="271"/>
                  </a:cxn>
                  <a:cxn ang="0">
                    <a:pos x="308" y="336"/>
                  </a:cxn>
                  <a:cxn ang="0">
                    <a:pos x="341" y="382"/>
                  </a:cxn>
                  <a:cxn ang="0">
                    <a:pos x="358" y="419"/>
                  </a:cxn>
                  <a:cxn ang="0">
                    <a:pos x="366" y="457"/>
                  </a:cxn>
                  <a:cxn ang="0">
                    <a:pos x="359" y="470"/>
                  </a:cxn>
                  <a:cxn ang="0">
                    <a:pos x="339" y="487"/>
                  </a:cxn>
                  <a:cxn ang="0">
                    <a:pos x="363" y="496"/>
                  </a:cxn>
                  <a:cxn ang="0">
                    <a:pos x="392" y="518"/>
                  </a:cxn>
                  <a:cxn ang="0">
                    <a:pos x="401" y="499"/>
                  </a:cxn>
                  <a:cxn ang="0">
                    <a:pos x="413" y="489"/>
                  </a:cxn>
                  <a:cxn ang="0">
                    <a:pos x="444" y="483"/>
                  </a:cxn>
                  <a:cxn ang="0">
                    <a:pos x="468" y="438"/>
                  </a:cxn>
                  <a:cxn ang="0">
                    <a:pos x="449" y="387"/>
                  </a:cxn>
                  <a:cxn ang="0">
                    <a:pos x="421" y="347"/>
                  </a:cxn>
                  <a:cxn ang="0">
                    <a:pos x="345" y="277"/>
                  </a:cxn>
                  <a:cxn ang="0">
                    <a:pos x="279" y="218"/>
                  </a:cxn>
                  <a:cxn ang="0">
                    <a:pos x="224" y="162"/>
                  </a:cxn>
                  <a:cxn ang="0">
                    <a:pos x="179" y="105"/>
                  </a:cxn>
                  <a:cxn ang="0">
                    <a:pos x="127" y="40"/>
                  </a:cxn>
                  <a:cxn ang="0">
                    <a:pos x="115" y="14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40" name="Freeform 278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9644416" y="2945483"/>
                <a:ext cx="309599" cy="451019"/>
              </a:xfrm>
              <a:custGeom>
                <a:avLst/>
                <a:gdLst/>
                <a:ahLst/>
                <a:cxnLst>
                  <a:cxn ang="0">
                    <a:pos x="18" y="41"/>
                  </a:cxn>
                  <a:cxn ang="0">
                    <a:pos x="28" y="26"/>
                  </a:cxn>
                  <a:cxn ang="0">
                    <a:pos x="38" y="16"/>
                  </a:cxn>
                  <a:cxn ang="0">
                    <a:pos x="50" y="9"/>
                  </a:cxn>
                  <a:cxn ang="0">
                    <a:pos x="73" y="1"/>
                  </a:cxn>
                  <a:cxn ang="0">
                    <a:pos x="88" y="12"/>
                  </a:cxn>
                  <a:cxn ang="0">
                    <a:pos x="108" y="34"/>
                  </a:cxn>
                  <a:cxn ang="0">
                    <a:pos x="125" y="50"/>
                  </a:cxn>
                  <a:cxn ang="0">
                    <a:pos x="139" y="58"/>
                  </a:cxn>
                  <a:cxn ang="0">
                    <a:pos x="152" y="64"/>
                  </a:cxn>
                  <a:cxn ang="0">
                    <a:pos x="166" y="67"/>
                  </a:cxn>
                  <a:cxn ang="0">
                    <a:pos x="184" y="96"/>
                  </a:cxn>
                  <a:cxn ang="0">
                    <a:pos x="195" y="137"/>
                  </a:cxn>
                  <a:cxn ang="0">
                    <a:pos x="199" y="165"/>
                  </a:cxn>
                  <a:cxn ang="0">
                    <a:pos x="200" y="185"/>
                  </a:cxn>
                  <a:cxn ang="0">
                    <a:pos x="198" y="197"/>
                  </a:cxn>
                  <a:cxn ang="0">
                    <a:pos x="195" y="207"/>
                  </a:cxn>
                  <a:cxn ang="0">
                    <a:pos x="189" y="214"/>
                  </a:cxn>
                  <a:cxn ang="0">
                    <a:pos x="179" y="220"/>
                  </a:cxn>
                  <a:cxn ang="0">
                    <a:pos x="164" y="224"/>
                  </a:cxn>
                  <a:cxn ang="0">
                    <a:pos x="140" y="224"/>
                  </a:cxn>
                  <a:cxn ang="0">
                    <a:pos x="118" y="229"/>
                  </a:cxn>
                  <a:cxn ang="0">
                    <a:pos x="111" y="235"/>
                  </a:cxn>
                  <a:cxn ang="0">
                    <a:pos x="108" y="242"/>
                  </a:cxn>
                  <a:cxn ang="0">
                    <a:pos x="98" y="245"/>
                  </a:cxn>
                  <a:cxn ang="0">
                    <a:pos x="85" y="240"/>
                  </a:cxn>
                  <a:cxn ang="0">
                    <a:pos x="77" y="230"/>
                  </a:cxn>
                  <a:cxn ang="0">
                    <a:pos x="73" y="216"/>
                  </a:cxn>
                  <a:cxn ang="0">
                    <a:pos x="72" y="192"/>
                  </a:cxn>
                  <a:cxn ang="0">
                    <a:pos x="71" y="168"/>
                  </a:cxn>
                  <a:cxn ang="0">
                    <a:pos x="69" y="154"/>
                  </a:cxn>
                  <a:cxn ang="0">
                    <a:pos x="64" y="142"/>
                  </a:cxn>
                  <a:cxn ang="0">
                    <a:pos x="56" y="134"/>
                  </a:cxn>
                  <a:cxn ang="0">
                    <a:pos x="40" y="125"/>
                  </a:cxn>
                  <a:cxn ang="0">
                    <a:pos x="18" y="115"/>
                  </a:cxn>
                  <a:cxn ang="0">
                    <a:pos x="6" y="106"/>
                  </a:cxn>
                  <a:cxn ang="0">
                    <a:pos x="1" y="98"/>
                  </a:cxn>
                  <a:cxn ang="0">
                    <a:pos x="1" y="87"/>
                  </a:cxn>
                  <a:cxn ang="0">
                    <a:pos x="5" y="78"/>
                  </a:cxn>
                  <a:cxn ang="0">
                    <a:pos x="10" y="68"/>
                  </a:cxn>
                  <a:cxn ang="0">
                    <a:pos x="13" y="56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41" name="Freeform 281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6164288" y="6113619"/>
                <a:ext cx="229333" cy="412519"/>
              </a:xfrm>
              <a:custGeom>
                <a:avLst/>
                <a:gdLst/>
                <a:ahLst/>
                <a:cxnLst>
                  <a:cxn ang="0">
                    <a:pos x="41" y="228"/>
                  </a:cxn>
                  <a:cxn ang="0">
                    <a:pos x="36" y="220"/>
                  </a:cxn>
                  <a:cxn ang="0">
                    <a:pos x="29" y="208"/>
                  </a:cxn>
                  <a:cxn ang="0">
                    <a:pos x="22" y="194"/>
                  </a:cxn>
                  <a:cxn ang="0">
                    <a:pos x="16" y="178"/>
                  </a:cxn>
                  <a:cxn ang="0">
                    <a:pos x="10" y="163"/>
                  </a:cxn>
                  <a:cxn ang="0">
                    <a:pos x="5" y="148"/>
                  </a:cxn>
                  <a:cxn ang="0">
                    <a:pos x="2" y="135"/>
                  </a:cxn>
                  <a:cxn ang="0">
                    <a:pos x="0" y="123"/>
                  </a:cxn>
                  <a:cxn ang="0">
                    <a:pos x="2" y="104"/>
                  </a:cxn>
                  <a:cxn ang="0">
                    <a:pos x="4" y="87"/>
                  </a:cxn>
                  <a:cxn ang="0">
                    <a:pos x="6" y="70"/>
                  </a:cxn>
                  <a:cxn ang="0">
                    <a:pos x="9" y="55"/>
                  </a:cxn>
                  <a:cxn ang="0">
                    <a:pos x="18" y="28"/>
                  </a:cxn>
                  <a:cxn ang="0">
                    <a:pos x="28" y="0"/>
                  </a:cxn>
                  <a:cxn ang="0">
                    <a:pos x="45" y="16"/>
                  </a:cxn>
                  <a:cxn ang="0">
                    <a:pos x="62" y="28"/>
                  </a:cxn>
                  <a:cxn ang="0">
                    <a:pos x="76" y="37"/>
                  </a:cxn>
                  <a:cxn ang="0">
                    <a:pos x="89" y="48"/>
                  </a:cxn>
                  <a:cxn ang="0">
                    <a:pos x="95" y="55"/>
                  </a:cxn>
                  <a:cxn ang="0">
                    <a:pos x="101" y="63"/>
                  </a:cxn>
                  <a:cxn ang="0">
                    <a:pos x="107" y="74"/>
                  </a:cxn>
                  <a:cxn ang="0">
                    <a:pos x="114" y="86"/>
                  </a:cxn>
                  <a:cxn ang="0">
                    <a:pos x="120" y="100"/>
                  </a:cxn>
                  <a:cxn ang="0">
                    <a:pos x="127" y="117"/>
                  </a:cxn>
                  <a:cxn ang="0">
                    <a:pos x="133" y="138"/>
                  </a:cxn>
                  <a:cxn ang="0">
                    <a:pos x="141" y="161"/>
                  </a:cxn>
                  <a:cxn ang="0">
                    <a:pos x="140" y="169"/>
                  </a:cxn>
                  <a:cxn ang="0">
                    <a:pos x="138" y="177"/>
                  </a:cxn>
                  <a:cxn ang="0">
                    <a:pos x="135" y="186"/>
                  </a:cxn>
                  <a:cxn ang="0">
                    <a:pos x="131" y="192"/>
                  </a:cxn>
                  <a:cxn ang="0">
                    <a:pos x="127" y="199"/>
                  </a:cxn>
                  <a:cxn ang="0">
                    <a:pos x="121" y="204"/>
                  </a:cxn>
                  <a:cxn ang="0">
                    <a:pos x="115" y="209"/>
                  </a:cxn>
                  <a:cxn ang="0">
                    <a:pos x="108" y="213"/>
                  </a:cxn>
                  <a:cxn ang="0">
                    <a:pos x="100" y="217"/>
                  </a:cxn>
                  <a:cxn ang="0">
                    <a:pos x="93" y="220"/>
                  </a:cxn>
                  <a:cxn ang="0">
                    <a:pos x="85" y="223"/>
                  </a:cxn>
                  <a:cxn ang="0">
                    <a:pos x="76" y="225"/>
                  </a:cxn>
                  <a:cxn ang="0">
                    <a:pos x="59" y="227"/>
                  </a:cxn>
                  <a:cxn ang="0">
                    <a:pos x="41" y="228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69" name="Freeform 34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642553" y="3261142"/>
                <a:ext cx="194933" cy="209009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72" y="0"/>
                  </a:cxn>
                  <a:cxn ang="0">
                    <a:pos x="81" y="6"/>
                  </a:cxn>
                  <a:cxn ang="0">
                    <a:pos x="91" y="14"/>
                  </a:cxn>
                  <a:cxn ang="0">
                    <a:pos x="101" y="25"/>
                  </a:cxn>
                  <a:cxn ang="0">
                    <a:pos x="109" y="37"/>
                  </a:cxn>
                  <a:cxn ang="0">
                    <a:pos x="118" y="49"/>
                  </a:cxn>
                  <a:cxn ang="0">
                    <a:pos x="126" y="62"/>
                  </a:cxn>
                  <a:cxn ang="0">
                    <a:pos x="128" y="68"/>
                  </a:cxn>
                  <a:cxn ang="0">
                    <a:pos x="130" y="74"/>
                  </a:cxn>
                  <a:cxn ang="0">
                    <a:pos x="131" y="80"/>
                  </a:cxn>
                  <a:cxn ang="0">
                    <a:pos x="133" y="86"/>
                  </a:cxn>
                  <a:cxn ang="0">
                    <a:pos x="131" y="92"/>
                  </a:cxn>
                  <a:cxn ang="0">
                    <a:pos x="128" y="97"/>
                  </a:cxn>
                  <a:cxn ang="0">
                    <a:pos x="124" y="102"/>
                  </a:cxn>
                  <a:cxn ang="0">
                    <a:pos x="118" y="107"/>
                  </a:cxn>
                  <a:cxn ang="0">
                    <a:pos x="113" y="111"/>
                  </a:cxn>
                  <a:cxn ang="0">
                    <a:pos x="107" y="114"/>
                  </a:cxn>
                  <a:cxn ang="0">
                    <a:pos x="103" y="117"/>
                  </a:cxn>
                  <a:cxn ang="0">
                    <a:pos x="100" y="117"/>
                  </a:cxn>
                  <a:cxn ang="0">
                    <a:pos x="72" y="95"/>
                  </a:cxn>
                  <a:cxn ang="0">
                    <a:pos x="45" y="70"/>
                  </a:cxn>
                  <a:cxn ang="0">
                    <a:pos x="32" y="58"/>
                  </a:cxn>
                  <a:cxn ang="0">
                    <a:pos x="18" y="46"/>
                  </a:cxn>
                  <a:cxn ang="0">
                    <a:pos x="8" y="33"/>
                  </a:cxn>
                  <a:cxn ang="0">
                    <a:pos x="0" y="19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72" name="Freeform 449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8623884" y="4964071"/>
                <a:ext cx="200668" cy="198008"/>
              </a:xfrm>
              <a:custGeom>
                <a:avLst/>
                <a:gdLst/>
                <a:ahLst/>
                <a:cxnLst>
                  <a:cxn ang="0">
                    <a:pos x="0" y="56"/>
                  </a:cxn>
                  <a:cxn ang="0">
                    <a:pos x="4" y="49"/>
                  </a:cxn>
                  <a:cxn ang="0">
                    <a:pos x="10" y="41"/>
                  </a:cxn>
                  <a:cxn ang="0">
                    <a:pos x="16" y="33"/>
                  </a:cxn>
                  <a:cxn ang="0">
                    <a:pos x="24" y="25"/>
                  </a:cxn>
                  <a:cxn ang="0">
                    <a:pos x="37" y="11"/>
                  </a:cxn>
                  <a:cxn ang="0">
                    <a:pos x="47" y="0"/>
                  </a:cxn>
                  <a:cxn ang="0">
                    <a:pos x="113" y="0"/>
                  </a:cxn>
                  <a:cxn ang="0">
                    <a:pos x="114" y="4"/>
                  </a:cxn>
                  <a:cxn ang="0">
                    <a:pos x="115" y="8"/>
                  </a:cxn>
                  <a:cxn ang="0">
                    <a:pos x="117" y="12"/>
                  </a:cxn>
                  <a:cxn ang="0">
                    <a:pos x="119" y="14"/>
                  </a:cxn>
                  <a:cxn ang="0">
                    <a:pos x="124" y="20"/>
                  </a:cxn>
                  <a:cxn ang="0">
                    <a:pos x="126" y="24"/>
                  </a:cxn>
                  <a:cxn ang="0">
                    <a:pos x="126" y="32"/>
                  </a:cxn>
                  <a:cxn ang="0">
                    <a:pos x="125" y="41"/>
                  </a:cxn>
                  <a:cxn ang="0">
                    <a:pos x="124" y="48"/>
                  </a:cxn>
                  <a:cxn ang="0">
                    <a:pos x="122" y="55"/>
                  </a:cxn>
                  <a:cxn ang="0">
                    <a:pos x="119" y="62"/>
                  </a:cxn>
                  <a:cxn ang="0">
                    <a:pos x="116" y="69"/>
                  </a:cxn>
                  <a:cxn ang="0">
                    <a:pos x="112" y="75"/>
                  </a:cxn>
                  <a:cxn ang="0">
                    <a:pos x="108" y="81"/>
                  </a:cxn>
                  <a:cxn ang="0">
                    <a:pos x="104" y="86"/>
                  </a:cxn>
                  <a:cxn ang="0">
                    <a:pos x="99" y="90"/>
                  </a:cxn>
                  <a:cxn ang="0">
                    <a:pos x="93" y="94"/>
                  </a:cxn>
                  <a:cxn ang="0">
                    <a:pos x="88" y="99"/>
                  </a:cxn>
                  <a:cxn ang="0">
                    <a:pos x="81" y="101"/>
                  </a:cxn>
                  <a:cxn ang="0">
                    <a:pos x="74" y="103"/>
                  </a:cxn>
                  <a:cxn ang="0">
                    <a:pos x="67" y="105"/>
                  </a:cxn>
                  <a:cxn ang="0">
                    <a:pos x="60" y="105"/>
                  </a:cxn>
                  <a:cxn ang="0">
                    <a:pos x="48" y="104"/>
                  </a:cxn>
                  <a:cxn ang="0">
                    <a:pos x="38" y="102"/>
                  </a:cxn>
                  <a:cxn ang="0">
                    <a:pos x="31" y="98"/>
                  </a:cxn>
                  <a:cxn ang="0">
                    <a:pos x="24" y="92"/>
                  </a:cxn>
                  <a:cxn ang="0">
                    <a:pos x="20" y="86"/>
                  </a:cxn>
                  <a:cxn ang="0">
                    <a:pos x="16" y="78"/>
                  </a:cxn>
                  <a:cxn ang="0">
                    <a:pos x="14" y="70"/>
                  </a:cxn>
                  <a:cxn ang="0">
                    <a:pos x="13" y="62"/>
                  </a:cxn>
                  <a:cxn ang="0">
                    <a:pos x="0" y="56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74" name="Freeform 481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0922950" y="2164449"/>
                <a:ext cx="68800" cy="198008"/>
              </a:xfrm>
              <a:custGeom>
                <a:avLst/>
                <a:gdLst/>
                <a:ahLst/>
                <a:cxnLst>
                  <a:cxn ang="0">
                    <a:pos x="13" y="50"/>
                  </a:cxn>
                  <a:cxn ang="0">
                    <a:pos x="0" y="32"/>
                  </a:cxn>
                  <a:cxn ang="0">
                    <a:pos x="2" y="25"/>
                  </a:cxn>
                  <a:cxn ang="0">
                    <a:pos x="6" y="18"/>
                  </a:cxn>
                  <a:cxn ang="0">
                    <a:pos x="12" y="13"/>
                  </a:cxn>
                  <a:cxn ang="0">
                    <a:pos x="18" y="9"/>
                  </a:cxn>
                  <a:cxn ang="0">
                    <a:pos x="26" y="5"/>
                  </a:cxn>
                  <a:cxn ang="0">
                    <a:pos x="34" y="3"/>
                  </a:cxn>
                  <a:cxn ang="0">
                    <a:pos x="43" y="1"/>
                  </a:cxn>
                  <a:cxn ang="0">
                    <a:pos x="52" y="0"/>
                  </a:cxn>
                  <a:cxn ang="0">
                    <a:pos x="40" y="11"/>
                  </a:cxn>
                  <a:cxn ang="0">
                    <a:pos x="27" y="22"/>
                  </a:cxn>
                  <a:cxn ang="0">
                    <a:pos x="22" y="30"/>
                  </a:cxn>
                  <a:cxn ang="0">
                    <a:pos x="17" y="36"/>
                  </a:cxn>
                  <a:cxn ang="0">
                    <a:pos x="14" y="43"/>
                  </a:cxn>
                  <a:cxn ang="0">
                    <a:pos x="13" y="50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ln>
                <a:solidFill>
                  <a:srgbClr val="99FF3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75" name="Freeform 482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0412682" y="2169952"/>
                <a:ext cx="510268" cy="434517"/>
              </a:xfrm>
              <a:custGeom>
                <a:avLst/>
                <a:gdLst/>
                <a:ahLst/>
                <a:cxnLst>
                  <a:cxn ang="0">
                    <a:pos x="76" y="231"/>
                  </a:cxn>
                  <a:cxn ang="0">
                    <a:pos x="61" y="226"/>
                  </a:cxn>
                  <a:cxn ang="0">
                    <a:pos x="66" y="222"/>
                  </a:cxn>
                  <a:cxn ang="0">
                    <a:pos x="77" y="217"/>
                  </a:cxn>
                  <a:cxn ang="0">
                    <a:pos x="64" y="204"/>
                  </a:cxn>
                  <a:cxn ang="0">
                    <a:pos x="43" y="189"/>
                  </a:cxn>
                  <a:cxn ang="0">
                    <a:pos x="36" y="179"/>
                  </a:cxn>
                  <a:cxn ang="0">
                    <a:pos x="34" y="171"/>
                  </a:cxn>
                  <a:cxn ang="0">
                    <a:pos x="34" y="164"/>
                  </a:cxn>
                  <a:cxn ang="0">
                    <a:pos x="36" y="157"/>
                  </a:cxn>
                  <a:cxn ang="0">
                    <a:pos x="43" y="149"/>
                  </a:cxn>
                  <a:cxn ang="0">
                    <a:pos x="56" y="141"/>
                  </a:cxn>
                  <a:cxn ang="0">
                    <a:pos x="73" y="137"/>
                  </a:cxn>
                  <a:cxn ang="0">
                    <a:pos x="80" y="126"/>
                  </a:cxn>
                  <a:cxn ang="0">
                    <a:pos x="67" y="111"/>
                  </a:cxn>
                  <a:cxn ang="0">
                    <a:pos x="61" y="102"/>
                  </a:cxn>
                  <a:cxn ang="0">
                    <a:pos x="60" y="86"/>
                  </a:cxn>
                  <a:cxn ang="0">
                    <a:pos x="55" y="70"/>
                  </a:cxn>
                  <a:cxn ang="0">
                    <a:pos x="46" y="46"/>
                  </a:cxn>
                  <a:cxn ang="0">
                    <a:pos x="33" y="31"/>
                  </a:cxn>
                  <a:cxn ang="0">
                    <a:pos x="20" y="25"/>
                  </a:cxn>
                  <a:cxn ang="0">
                    <a:pos x="7" y="10"/>
                  </a:cxn>
                  <a:cxn ang="0">
                    <a:pos x="9" y="0"/>
                  </a:cxn>
                  <a:cxn ang="0">
                    <a:pos x="24" y="0"/>
                  </a:cxn>
                  <a:cxn ang="0">
                    <a:pos x="38" y="3"/>
                  </a:cxn>
                  <a:cxn ang="0">
                    <a:pos x="56" y="16"/>
                  </a:cxn>
                  <a:cxn ang="0">
                    <a:pos x="78" y="35"/>
                  </a:cxn>
                  <a:cxn ang="0">
                    <a:pos x="96" y="48"/>
                  </a:cxn>
                  <a:cxn ang="0">
                    <a:pos x="119" y="58"/>
                  </a:cxn>
                  <a:cxn ang="0">
                    <a:pos x="152" y="70"/>
                  </a:cxn>
                  <a:cxn ang="0">
                    <a:pos x="181" y="79"/>
                  </a:cxn>
                  <a:cxn ang="0">
                    <a:pos x="214" y="85"/>
                  </a:cxn>
                  <a:cxn ang="0">
                    <a:pos x="236" y="77"/>
                  </a:cxn>
                  <a:cxn ang="0">
                    <a:pos x="257" y="83"/>
                  </a:cxn>
                  <a:cxn ang="0">
                    <a:pos x="284" y="107"/>
                  </a:cxn>
                  <a:cxn ang="0">
                    <a:pos x="305" y="119"/>
                  </a:cxn>
                  <a:cxn ang="0">
                    <a:pos x="297" y="133"/>
                  </a:cxn>
                  <a:cxn ang="0">
                    <a:pos x="268" y="144"/>
                  </a:cxn>
                  <a:cxn ang="0">
                    <a:pos x="249" y="148"/>
                  </a:cxn>
                  <a:cxn ang="0">
                    <a:pos x="237" y="159"/>
                  </a:cxn>
                  <a:cxn ang="0">
                    <a:pos x="232" y="176"/>
                  </a:cxn>
                  <a:cxn ang="0">
                    <a:pos x="231" y="187"/>
                  </a:cxn>
                  <a:cxn ang="0">
                    <a:pos x="222" y="192"/>
                  </a:cxn>
                  <a:cxn ang="0">
                    <a:pos x="204" y="189"/>
                  </a:cxn>
                  <a:cxn ang="0">
                    <a:pos x="186" y="181"/>
                  </a:cxn>
                  <a:cxn ang="0">
                    <a:pos x="168" y="170"/>
                  </a:cxn>
                  <a:cxn ang="0">
                    <a:pos x="155" y="164"/>
                  </a:cxn>
                  <a:cxn ang="0">
                    <a:pos x="145" y="161"/>
                  </a:cxn>
                  <a:cxn ang="0">
                    <a:pos x="131" y="162"/>
                  </a:cxn>
                  <a:cxn ang="0">
                    <a:pos x="114" y="167"/>
                  </a:cxn>
                  <a:cxn ang="0">
                    <a:pos x="100" y="173"/>
                  </a:cxn>
                  <a:cxn ang="0">
                    <a:pos x="87" y="178"/>
                  </a:cxn>
                  <a:cxn ang="0">
                    <a:pos x="85" y="183"/>
                  </a:cxn>
                  <a:cxn ang="0">
                    <a:pos x="96" y="191"/>
                  </a:cxn>
                  <a:cxn ang="0">
                    <a:pos x="116" y="200"/>
                  </a:cxn>
                  <a:cxn ang="0">
                    <a:pos x="126" y="212"/>
                  </a:cxn>
                  <a:cxn ang="0">
                    <a:pos x="113" y="224"/>
                  </a:cxn>
                  <a:cxn ang="0">
                    <a:pos x="102" y="231"/>
                  </a:cxn>
                  <a:cxn ang="0">
                    <a:pos x="91" y="234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ln>
                <a:solidFill>
                  <a:srgbClr val="99FF3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76" name="Freeform 483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0303751" y="3396502"/>
                <a:ext cx="189198" cy="198008"/>
              </a:xfrm>
              <a:custGeom>
                <a:avLst/>
                <a:gdLst/>
                <a:ahLst/>
                <a:cxnLst>
                  <a:cxn ang="0">
                    <a:pos x="33" y="19"/>
                  </a:cxn>
                  <a:cxn ang="0">
                    <a:pos x="43" y="19"/>
                  </a:cxn>
                  <a:cxn ang="0">
                    <a:pos x="52" y="19"/>
                  </a:cxn>
                  <a:cxn ang="0">
                    <a:pos x="55" y="19"/>
                  </a:cxn>
                  <a:cxn ang="0">
                    <a:pos x="58" y="17"/>
                  </a:cxn>
                  <a:cxn ang="0">
                    <a:pos x="61" y="15"/>
                  </a:cxn>
                  <a:cxn ang="0">
                    <a:pos x="65" y="11"/>
                  </a:cxn>
                  <a:cxn ang="0">
                    <a:pos x="68" y="8"/>
                  </a:cxn>
                  <a:cxn ang="0">
                    <a:pos x="70" y="5"/>
                  </a:cxn>
                  <a:cxn ang="0">
                    <a:pos x="72" y="3"/>
                  </a:cxn>
                  <a:cxn ang="0">
                    <a:pos x="72" y="0"/>
                  </a:cxn>
                  <a:cxn ang="0">
                    <a:pos x="118" y="0"/>
                  </a:cxn>
                  <a:cxn ang="0">
                    <a:pos x="122" y="15"/>
                  </a:cxn>
                  <a:cxn ang="0">
                    <a:pos x="125" y="25"/>
                  </a:cxn>
                  <a:cxn ang="0">
                    <a:pos x="124" y="29"/>
                  </a:cxn>
                  <a:cxn ang="0">
                    <a:pos x="122" y="33"/>
                  </a:cxn>
                  <a:cxn ang="0">
                    <a:pos x="119" y="35"/>
                  </a:cxn>
                  <a:cxn ang="0">
                    <a:pos x="117" y="37"/>
                  </a:cxn>
                  <a:cxn ang="0">
                    <a:pos x="111" y="40"/>
                  </a:cxn>
                  <a:cxn ang="0">
                    <a:pos x="104" y="41"/>
                  </a:cxn>
                  <a:cxn ang="0">
                    <a:pos x="88" y="41"/>
                  </a:cxn>
                  <a:cxn ang="0">
                    <a:pos x="72" y="43"/>
                  </a:cxn>
                  <a:cxn ang="0">
                    <a:pos x="70" y="47"/>
                  </a:cxn>
                  <a:cxn ang="0">
                    <a:pos x="69" y="53"/>
                  </a:cxn>
                  <a:cxn ang="0">
                    <a:pos x="67" y="61"/>
                  </a:cxn>
                  <a:cxn ang="0">
                    <a:pos x="67" y="71"/>
                  </a:cxn>
                  <a:cxn ang="0">
                    <a:pos x="66" y="86"/>
                  </a:cxn>
                  <a:cxn ang="0">
                    <a:pos x="66" y="93"/>
                  </a:cxn>
                  <a:cxn ang="0">
                    <a:pos x="49" y="85"/>
                  </a:cxn>
                  <a:cxn ang="0">
                    <a:pos x="27" y="73"/>
                  </a:cxn>
                  <a:cxn ang="0">
                    <a:pos x="16" y="65"/>
                  </a:cxn>
                  <a:cxn ang="0">
                    <a:pos x="7" y="58"/>
                  </a:cxn>
                  <a:cxn ang="0">
                    <a:pos x="4" y="54"/>
                  </a:cxn>
                  <a:cxn ang="0">
                    <a:pos x="2" y="50"/>
                  </a:cxn>
                  <a:cxn ang="0">
                    <a:pos x="0" y="47"/>
                  </a:cxn>
                  <a:cxn ang="0">
                    <a:pos x="0" y="43"/>
                  </a:cxn>
                  <a:cxn ang="0">
                    <a:pos x="7" y="43"/>
                  </a:cxn>
                  <a:cxn ang="0">
                    <a:pos x="15" y="41"/>
                  </a:cxn>
                  <a:cxn ang="0">
                    <a:pos x="20" y="39"/>
                  </a:cxn>
                  <a:cxn ang="0">
                    <a:pos x="23" y="36"/>
                  </a:cxn>
                  <a:cxn ang="0">
                    <a:pos x="28" y="28"/>
                  </a:cxn>
                  <a:cxn ang="0">
                    <a:pos x="33" y="19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ln>
                <a:solidFill>
                  <a:srgbClr val="99FF3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77" name="Freeform 484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0108817" y="3446006"/>
                <a:ext cx="217866" cy="291510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24" y="10"/>
                  </a:cxn>
                  <a:cxn ang="0">
                    <a:pos x="31" y="6"/>
                  </a:cxn>
                  <a:cxn ang="0">
                    <a:pos x="34" y="4"/>
                  </a:cxn>
                  <a:cxn ang="0">
                    <a:pos x="37" y="2"/>
                  </a:cxn>
                  <a:cxn ang="0">
                    <a:pos x="42" y="1"/>
                  </a:cxn>
                  <a:cxn ang="0">
                    <a:pos x="46" y="0"/>
                  </a:cxn>
                  <a:cxn ang="0">
                    <a:pos x="59" y="1"/>
                  </a:cxn>
                  <a:cxn ang="0">
                    <a:pos x="70" y="4"/>
                  </a:cxn>
                  <a:cxn ang="0">
                    <a:pos x="81" y="8"/>
                  </a:cxn>
                  <a:cxn ang="0">
                    <a:pos x="90" y="14"/>
                  </a:cxn>
                  <a:cxn ang="0">
                    <a:pos x="99" y="21"/>
                  </a:cxn>
                  <a:cxn ang="0">
                    <a:pos x="105" y="30"/>
                  </a:cxn>
                  <a:cxn ang="0">
                    <a:pos x="112" y="40"/>
                  </a:cxn>
                  <a:cxn ang="0">
                    <a:pos x="116" y="50"/>
                  </a:cxn>
                  <a:cxn ang="0">
                    <a:pos x="121" y="60"/>
                  </a:cxn>
                  <a:cxn ang="0">
                    <a:pos x="124" y="71"/>
                  </a:cxn>
                  <a:cxn ang="0">
                    <a:pos x="127" y="82"/>
                  </a:cxn>
                  <a:cxn ang="0">
                    <a:pos x="130" y="94"/>
                  </a:cxn>
                  <a:cxn ang="0">
                    <a:pos x="132" y="116"/>
                  </a:cxn>
                  <a:cxn ang="0">
                    <a:pos x="133" y="135"/>
                  </a:cxn>
                  <a:cxn ang="0">
                    <a:pos x="132" y="138"/>
                  </a:cxn>
                  <a:cxn ang="0">
                    <a:pos x="130" y="141"/>
                  </a:cxn>
                  <a:cxn ang="0">
                    <a:pos x="125" y="144"/>
                  </a:cxn>
                  <a:cxn ang="0">
                    <a:pos x="121" y="147"/>
                  </a:cxn>
                  <a:cxn ang="0">
                    <a:pos x="115" y="150"/>
                  </a:cxn>
                  <a:cxn ang="0">
                    <a:pos x="110" y="153"/>
                  </a:cxn>
                  <a:cxn ang="0">
                    <a:pos x="104" y="154"/>
                  </a:cxn>
                  <a:cxn ang="0">
                    <a:pos x="99" y="154"/>
                  </a:cxn>
                  <a:cxn ang="0">
                    <a:pos x="93" y="153"/>
                  </a:cxn>
                  <a:cxn ang="0">
                    <a:pos x="87" y="149"/>
                  </a:cxn>
                  <a:cxn ang="0">
                    <a:pos x="79" y="141"/>
                  </a:cxn>
                  <a:cxn ang="0">
                    <a:pos x="71" y="134"/>
                  </a:cxn>
                  <a:cxn ang="0">
                    <a:pos x="64" y="126"/>
                  </a:cxn>
                  <a:cxn ang="0">
                    <a:pos x="58" y="118"/>
                  </a:cxn>
                  <a:cxn ang="0">
                    <a:pos x="54" y="111"/>
                  </a:cxn>
                  <a:cxn ang="0">
                    <a:pos x="53" y="105"/>
                  </a:cxn>
                  <a:cxn ang="0">
                    <a:pos x="54" y="98"/>
                  </a:cxn>
                  <a:cxn ang="0">
                    <a:pos x="56" y="83"/>
                  </a:cxn>
                  <a:cxn ang="0">
                    <a:pos x="58" y="68"/>
                  </a:cxn>
                  <a:cxn ang="0">
                    <a:pos x="59" y="62"/>
                  </a:cxn>
                  <a:cxn ang="0">
                    <a:pos x="47" y="61"/>
                  </a:cxn>
                  <a:cxn ang="0">
                    <a:pos x="36" y="59"/>
                  </a:cxn>
                  <a:cxn ang="0">
                    <a:pos x="25" y="56"/>
                  </a:cxn>
                  <a:cxn ang="0">
                    <a:pos x="17" y="52"/>
                  </a:cxn>
                  <a:cxn ang="0">
                    <a:pos x="13" y="49"/>
                  </a:cxn>
                  <a:cxn ang="0">
                    <a:pos x="10" y="46"/>
                  </a:cxn>
                  <a:cxn ang="0">
                    <a:pos x="7" y="43"/>
                  </a:cxn>
                  <a:cxn ang="0">
                    <a:pos x="4" y="39"/>
                  </a:cxn>
                  <a:cxn ang="0">
                    <a:pos x="2" y="34"/>
                  </a:cxn>
                  <a:cxn ang="0">
                    <a:pos x="1" y="29"/>
                  </a:cxn>
                  <a:cxn ang="0">
                    <a:pos x="0" y="24"/>
                  </a:cxn>
                  <a:cxn ang="0">
                    <a:pos x="0" y="18"/>
                  </a:cxn>
                  <a:cxn ang="0">
                    <a:pos x="7" y="15"/>
                  </a:cxn>
                  <a:cxn ang="0">
                    <a:pos x="20" y="12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ln>
                <a:solidFill>
                  <a:srgbClr val="99FF3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78" name="Freeform 485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0166151" y="2620970"/>
                <a:ext cx="756799" cy="847037"/>
              </a:xfrm>
              <a:custGeom>
                <a:avLst/>
                <a:gdLst/>
                <a:ahLst/>
                <a:cxnLst>
                  <a:cxn ang="0">
                    <a:pos x="134" y="351"/>
                  </a:cxn>
                  <a:cxn ang="0">
                    <a:pos x="167" y="339"/>
                  </a:cxn>
                  <a:cxn ang="0">
                    <a:pos x="200" y="339"/>
                  </a:cxn>
                  <a:cxn ang="0">
                    <a:pos x="226" y="348"/>
                  </a:cxn>
                  <a:cxn ang="0">
                    <a:pos x="224" y="327"/>
                  </a:cxn>
                  <a:cxn ang="0">
                    <a:pos x="220" y="316"/>
                  </a:cxn>
                  <a:cxn ang="0">
                    <a:pos x="233" y="303"/>
                  </a:cxn>
                  <a:cxn ang="0">
                    <a:pos x="239" y="276"/>
                  </a:cxn>
                  <a:cxn ang="0">
                    <a:pos x="242" y="246"/>
                  </a:cxn>
                  <a:cxn ang="0">
                    <a:pos x="268" y="255"/>
                  </a:cxn>
                  <a:cxn ang="0">
                    <a:pos x="300" y="238"/>
                  </a:cxn>
                  <a:cxn ang="0">
                    <a:pos x="316" y="217"/>
                  </a:cxn>
                  <a:cxn ang="0">
                    <a:pos x="293" y="194"/>
                  </a:cxn>
                  <a:cxn ang="0">
                    <a:pos x="318" y="199"/>
                  </a:cxn>
                  <a:cxn ang="0">
                    <a:pos x="343" y="202"/>
                  </a:cxn>
                  <a:cxn ang="0">
                    <a:pos x="346" y="185"/>
                  </a:cxn>
                  <a:cxn ang="0">
                    <a:pos x="295" y="96"/>
                  </a:cxn>
                  <a:cxn ang="0">
                    <a:pos x="285" y="53"/>
                  </a:cxn>
                  <a:cxn ang="0">
                    <a:pos x="291" y="19"/>
                  </a:cxn>
                  <a:cxn ang="0">
                    <a:pos x="316" y="1"/>
                  </a:cxn>
                  <a:cxn ang="0">
                    <a:pos x="336" y="18"/>
                  </a:cxn>
                  <a:cxn ang="0">
                    <a:pos x="377" y="45"/>
                  </a:cxn>
                  <a:cxn ang="0">
                    <a:pos x="415" y="72"/>
                  </a:cxn>
                  <a:cxn ang="0">
                    <a:pos x="426" y="98"/>
                  </a:cxn>
                  <a:cxn ang="0">
                    <a:pos x="436" y="137"/>
                  </a:cxn>
                  <a:cxn ang="0">
                    <a:pos x="445" y="173"/>
                  </a:cxn>
                  <a:cxn ang="0">
                    <a:pos x="428" y="179"/>
                  </a:cxn>
                  <a:cxn ang="0">
                    <a:pos x="412" y="185"/>
                  </a:cxn>
                  <a:cxn ang="0">
                    <a:pos x="426" y="199"/>
                  </a:cxn>
                  <a:cxn ang="0">
                    <a:pos x="445" y="203"/>
                  </a:cxn>
                  <a:cxn ang="0">
                    <a:pos x="455" y="262"/>
                  </a:cxn>
                  <a:cxn ang="0">
                    <a:pos x="475" y="312"/>
                  </a:cxn>
                  <a:cxn ang="0">
                    <a:pos x="480" y="381"/>
                  </a:cxn>
                  <a:cxn ang="0">
                    <a:pos x="463" y="364"/>
                  </a:cxn>
                  <a:cxn ang="0">
                    <a:pos x="453" y="356"/>
                  </a:cxn>
                  <a:cxn ang="0">
                    <a:pos x="436" y="363"/>
                  </a:cxn>
                  <a:cxn ang="0">
                    <a:pos x="429" y="399"/>
                  </a:cxn>
                  <a:cxn ang="0">
                    <a:pos x="408" y="389"/>
                  </a:cxn>
                  <a:cxn ang="0">
                    <a:pos x="389" y="382"/>
                  </a:cxn>
                  <a:cxn ang="0">
                    <a:pos x="376" y="402"/>
                  </a:cxn>
                  <a:cxn ang="0">
                    <a:pos x="345" y="413"/>
                  </a:cxn>
                  <a:cxn ang="0">
                    <a:pos x="334" y="400"/>
                  </a:cxn>
                  <a:cxn ang="0">
                    <a:pos x="312" y="395"/>
                  </a:cxn>
                  <a:cxn ang="0">
                    <a:pos x="303" y="426"/>
                  </a:cxn>
                  <a:cxn ang="0">
                    <a:pos x="299" y="450"/>
                  </a:cxn>
                  <a:cxn ang="0">
                    <a:pos x="307" y="466"/>
                  </a:cxn>
                  <a:cxn ang="0">
                    <a:pos x="272" y="468"/>
                  </a:cxn>
                  <a:cxn ang="0">
                    <a:pos x="258" y="465"/>
                  </a:cxn>
                  <a:cxn ang="0">
                    <a:pos x="244" y="440"/>
                  </a:cxn>
                  <a:cxn ang="0">
                    <a:pos x="229" y="418"/>
                  </a:cxn>
                  <a:cxn ang="0">
                    <a:pos x="204" y="406"/>
                  </a:cxn>
                  <a:cxn ang="0">
                    <a:pos x="190" y="394"/>
                  </a:cxn>
                  <a:cxn ang="0">
                    <a:pos x="136" y="417"/>
                  </a:cxn>
                  <a:cxn ang="0">
                    <a:pos x="90" y="435"/>
                  </a:cxn>
                  <a:cxn ang="0">
                    <a:pos x="65" y="459"/>
                  </a:cxn>
                  <a:cxn ang="0">
                    <a:pos x="27" y="461"/>
                  </a:cxn>
                  <a:cxn ang="0">
                    <a:pos x="7" y="438"/>
                  </a:cxn>
                  <a:cxn ang="0">
                    <a:pos x="0" y="417"/>
                  </a:cxn>
                  <a:cxn ang="0">
                    <a:pos x="7" y="413"/>
                  </a:cxn>
                  <a:cxn ang="0">
                    <a:pos x="27" y="414"/>
                  </a:cxn>
                  <a:cxn ang="0">
                    <a:pos x="48" y="405"/>
                  </a:cxn>
                  <a:cxn ang="0">
                    <a:pos x="72" y="369"/>
                  </a:cxn>
                  <a:cxn ang="0">
                    <a:pos x="93" y="352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ln>
                <a:solidFill>
                  <a:srgbClr val="99FF33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  <p:sp>
            <p:nvSpPr>
              <p:cNvPr id="85" name="Freeform 542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8044819" y="4617554"/>
                <a:ext cx="751064" cy="1589570"/>
              </a:xfrm>
              <a:custGeom>
                <a:avLst/>
                <a:gdLst/>
                <a:ahLst/>
                <a:cxnLst>
                  <a:cxn ang="0">
                    <a:pos x="287" y="109"/>
                  </a:cxn>
                  <a:cxn ang="0">
                    <a:pos x="250" y="138"/>
                  </a:cxn>
                  <a:cxn ang="0">
                    <a:pos x="199" y="197"/>
                  </a:cxn>
                  <a:cxn ang="0">
                    <a:pos x="198" y="213"/>
                  </a:cxn>
                  <a:cxn ang="0">
                    <a:pos x="206" y="239"/>
                  </a:cxn>
                  <a:cxn ang="0">
                    <a:pos x="221" y="265"/>
                  </a:cxn>
                  <a:cxn ang="0">
                    <a:pos x="240" y="288"/>
                  </a:cxn>
                  <a:cxn ang="0">
                    <a:pos x="259" y="301"/>
                  </a:cxn>
                  <a:cxn ang="0">
                    <a:pos x="279" y="329"/>
                  </a:cxn>
                  <a:cxn ang="0">
                    <a:pos x="295" y="361"/>
                  </a:cxn>
                  <a:cxn ang="0">
                    <a:pos x="305" y="369"/>
                  </a:cxn>
                  <a:cxn ang="0">
                    <a:pos x="438" y="499"/>
                  </a:cxn>
                  <a:cxn ang="0">
                    <a:pos x="471" y="589"/>
                  </a:cxn>
                  <a:cxn ang="0">
                    <a:pos x="478" y="647"/>
                  </a:cxn>
                  <a:cxn ang="0">
                    <a:pos x="476" y="687"/>
                  </a:cxn>
                  <a:cxn ang="0">
                    <a:pos x="478" y="708"/>
                  </a:cxn>
                  <a:cxn ang="0">
                    <a:pos x="447" y="718"/>
                  </a:cxn>
                  <a:cxn ang="0">
                    <a:pos x="420" y="733"/>
                  </a:cxn>
                  <a:cxn ang="0">
                    <a:pos x="391" y="756"/>
                  </a:cxn>
                  <a:cxn ang="0">
                    <a:pos x="365" y="789"/>
                  </a:cxn>
                  <a:cxn ang="0">
                    <a:pos x="348" y="785"/>
                  </a:cxn>
                  <a:cxn ang="0">
                    <a:pos x="319" y="789"/>
                  </a:cxn>
                  <a:cxn ang="0">
                    <a:pos x="313" y="804"/>
                  </a:cxn>
                  <a:cxn ang="0">
                    <a:pos x="289" y="838"/>
                  </a:cxn>
                  <a:cxn ang="0">
                    <a:pos x="256" y="868"/>
                  </a:cxn>
                  <a:cxn ang="0">
                    <a:pos x="239" y="875"/>
                  </a:cxn>
                  <a:cxn ang="0">
                    <a:pos x="232" y="868"/>
                  </a:cxn>
                  <a:cxn ang="0">
                    <a:pos x="225" y="844"/>
                  </a:cxn>
                  <a:cxn ang="0">
                    <a:pos x="231" y="800"/>
                  </a:cxn>
                  <a:cxn ang="0">
                    <a:pos x="253" y="775"/>
                  </a:cxn>
                  <a:cxn ang="0">
                    <a:pos x="277" y="760"/>
                  </a:cxn>
                  <a:cxn ang="0">
                    <a:pos x="295" y="753"/>
                  </a:cxn>
                  <a:cxn ang="0">
                    <a:pos x="305" y="743"/>
                  </a:cxn>
                  <a:cxn ang="0">
                    <a:pos x="314" y="714"/>
                  </a:cxn>
                  <a:cxn ang="0">
                    <a:pos x="330" y="686"/>
                  </a:cxn>
                  <a:cxn ang="0">
                    <a:pos x="365" y="643"/>
                  </a:cxn>
                  <a:cxn ang="0">
                    <a:pos x="371" y="536"/>
                  </a:cxn>
                  <a:cxn ang="0">
                    <a:pos x="364" y="475"/>
                  </a:cxn>
                  <a:cxn ang="0">
                    <a:pos x="341" y="427"/>
                  </a:cxn>
                  <a:cxn ang="0">
                    <a:pos x="297" y="377"/>
                  </a:cxn>
                  <a:cxn ang="0">
                    <a:pos x="219" y="308"/>
                  </a:cxn>
                  <a:cxn ang="0">
                    <a:pos x="161" y="255"/>
                  </a:cxn>
                  <a:cxn ang="0">
                    <a:pos x="108" y="198"/>
                  </a:cxn>
                  <a:cxn ang="0">
                    <a:pos x="72" y="146"/>
                  </a:cxn>
                  <a:cxn ang="0">
                    <a:pos x="42" y="104"/>
                  </a:cxn>
                  <a:cxn ang="0">
                    <a:pos x="46" y="41"/>
                  </a:cxn>
                  <a:cxn ang="0">
                    <a:pos x="129" y="19"/>
                  </a:cxn>
                  <a:cxn ang="0">
                    <a:pos x="148" y="5"/>
                  </a:cxn>
                  <a:cxn ang="0">
                    <a:pos x="175" y="16"/>
                  </a:cxn>
                  <a:cxn ang="0">
                    <a:pos x="221" y="35"/>
                  </a:cxn>
                  <a:cxn ang="0">
                    <a:pos x="269" y="67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ln>
                <a:solidFill>
                  <a:srgbClr val="99FF3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ＭＳ Ｐゴシック" panose="020B0600070205080204" pitchFamily="50" charset="-128"/>
                  <a:cs typeface="+mn-cs"/>
                </a:endParaRPr>
              </a:p>
            </p:txBody>
          </p:sp>
        </p:grpSp>
      </p:grpSp>
      <p:sp>
        <p:nvSpPr>
          <p:cNvPr id="42" name="タイトル 8"/>
          <p:cNvSpPr txBox="1">
            <a:spLocks/>
          </p:cNvSpPr>
          <p:nvPr/>
        </p:nvSpPr>
        <p:spPr>
          <a:xfrm>
            <a:off x="4156511" y="674271"/>
            <a:ext cx="4700626" cy="14258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kumimoji="1"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>
                  <a:solidFill>
                    <a:srgbClr val="00B0F0"/>
                  </a:solidFill>
                </a:uFill>
                <a:latin typeface="Calibri"/>
                <a:ea typeface="ＭＳ Ｐゴシック" panose="020B0600070205080204" pitchFamily="50" charset="-128"/>
                <a:cs typeface="+mj-cs"/>
              </a:rPr>
              <a:t>Bhutan is a representative Buddhist Vajrayana kingdom in the Himalaya</a:t>
            </a:r>
            <a:endParaRPr kumimoji="1" lang="ja-JP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>
                <a:solidFill>
                  <a:srgbClr val="00B0F0"/>
                </a:solidFill>
              </a:uFill>
              <a:latin typeface="Calibri"/>
              <a:ea typeface="ＭＳ Ｐゴシック" panose="020B0600070205080204" pitchFamily="50" charset="-128"/>
              <a:cs typeface="+mj-cs"/>
            </a:endParaRPr>
          </a:p>
        </p:txBody>
      </p:sp>
      <p:sp>
        <p:nvSpPr>
          <p:cNvPr id="43" name="コンテンツ プレースホルダー 2"/>
          <p:cNvSpPr txBox="1">
            <a:spLocks/>
          </p:cNvSpPr>
          <p:nvPr/>
        </p:nvSpPr>
        <p:spPr>
          <a:xfrm>
            <a:off x="4249726" y="4518377"/>
            <a:ext cx="4705006" cy="1902785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uddhism has influenced Bhutanese culture and society, including GNH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(Gross National Happiness).</a:t>
            </a:r>
          </a:p>
        </p:txBody>
      </p:sp>
      <p:sp>
        <p:nvSpPr>
          <p:cNvPr id="44" name="スライド番号プレースホルダー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3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pic>
        <p:nvPicPr>
          <p:cNvPr id="46" name="図 4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29" y="549930"/>
            <a:ext cx="1362075" cy="904875"/>
          </a:xfrm>
          <a:prstGeom prst="rect">
            <a:avLst/>
          </a:prstGeom>
        </p:spPr>
      </p:pic>
      <p:sp>
        <p:nvSpPr>
          <p:cNvPr id="36" name="Freeform 274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750024" y="3890594"/>
            <a:ext cx="197826" cy="169153"/>
          </a:xfrm>
          <a:custGeom>
            <a:avLst/>
            <a:gdLst/>
            <a:ahLst/>
            <a:cxnLst>
              <a:cxn ang="0">
                <a:pos x="167" y="43"/>
              </a:cxn>
              <a:cxn ang="0">
                <a:pos x="164" y="54"/>
              </a:cxn>
              <a:cxn ang="0">
                <a:pos x="161" y="66"/>
              </a:cxn>
              <a:cxn ang="0">
                <a:pos x="155" y="79"/>
              </a:cxn>
              <a:cxn ang="0">
                <a:pos x="150" y="93"/>
              </a:cxn>
              <a:cxn ang="0">
                <a:pos x="146" y="99"/>
              </a:cxn>
              <a:cxn ang="0">
                <a:pos x="142" y="105"/>
              </a:cxn>
              <a:cxn ang="0">
                <a:pos x="138" y="110"/>
              </a:cxn>
              <a:cxn ang="0">
                <a:pos x="132" y="114"/>
              </a:cxn>
              <a:cxn ang="0">
                <a:pos x="127" y="118"/>
              </a:cxn>
              <a:cxn ang="0">
                <a:pos x="121" y="121"/>
              </a:cxn>
              <a:cxn ang="0">
                <a:pos x="115" y="122"/>
              </a:cxn>
              <a:cxn ang="0">
                <a:pos x="107" y="123"/>
              </a:cxn>
              <a:cxn ang="0">
                <a:pos x="100" y="122"/>
              </a:cxn>
              <a:cxn ang="0">
                <a:pos x="92" y="119"/>
              </a:cxn>
              <a:cxn ang="0">
                <a:pos x="87" y="116"/>
              </a:cxn>
              <a:cxn ang="0">
                <a:pos x="84" y="113"/>
              </a:cxn>
              <a:cxn ang="0">
                <a:pos x="82" y="109"/>
              </a:cxn>
              <a:cxn ang="0">
                <a:pos x="81" y="105"/>
              </a:cxn>
              <a:cxn ang="0">
                <a:pos x="71" y="104"/>
              </a:cxn>
              <a:cxn ang="0">
                <a:pos x="61" y="103"/>
              </a:cxn>
              <a:cxn ang="0">
                <a:pos x="51" y="101"/>
              </a:cxn>
              <a:cxn ang="0">
                <a:pos x="41" y="98"/>
              </a:cxn>
              <a:cxn ang="0">
                <a:pos x="21" y="92"/>
              </a:cxn>
              <a:cxn ang="0">
                <a:pos x="0" y="86"/>
              </a:cxn>
              <a:cxn ang="0">
                <a:pos x="2" y="77"/>
              </a:cxn>
              <a:cxn ang="0">
                <a:pos x="5" y="67"/>
              </a:cxn>
              <a:cxn ang="0">
                <a:pos x="9" y="56"/>
              </a:cxn>
              <a:cxn ang="0">
                <a:pos x="15" y="43"/>
              </a:cxn>
              <a:cxn ang="0">
                <a:pos x="20" y="43"/>
              </a:cxn>
              <a:cxn ang="0">
                <a:pos x="26" y="42"/>
              </a:cxn>
              <a:cxn ang="0">
                <a:pos x="30" y="41"/>
              </a:cxn>
              <a:cxn ang="0">
                <a:pos x="33" y="38"/>
              </a:cxn>
              <a:cxn ang="0">
                <a:pos x="40" y="33"/>
              </a:cxn>
              <a:cxn ang="0">
                <a:pos x="45" y="26"/>
              </a:cxn>
              <a:cxn ang="0">
                <a:pos x="52" y="12"/>
              </a:cxn>
              <a:cxn ang="0">
                <a:pos x="61" y="0"/>
              </a:cxn>
              <a:cxn ang="0">
                <a:pos x="64" y="4"/>
              </a:cxn>
              <a:cxn ang="0">
                <a:pos x="67" y="7"/>
              </a:cxn>
              <a:cxn ang="0">
                <a:pos x="73" y="11"/>
              </a:cxn>
              <a:cxn ang="0">
                <a:pos x="78" y="14"/>
              </a:cxn>
              <a:cxn ang="0">
                <a:pos x="92" y="21"/>
              </a:cxn>
              <a:cxn ang="0">
                <a:pos x="107" y="28"/>
              </a:cxn>
              <a:cxn ang="0">
                <a:pos x="122" y="35"/>
              </a:cxn>
              <a:cxn ang="0">
                <a:pos x="139" y="39"/>
              </a:cxn>
              <a:cxn ang="0">
                <a:pos x="153" y="42"/>
              </a:cxn>
              <a:cxn ang="0">
                <a:pos x="167" y="4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FFFF00"/>
          </a:solidFill>
          <a:ln w="31750" cmpd="sng">
            <a:solidFill>
              <a:srgbClr val="FF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526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36" grpId="0" uiExpan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/>
          <p:cNvSpPr/>
          <p:nvPr/>
        </p:nvSpPr>
        <p:spPr>
          <a:xfrm>
            <a:off x="360920" y="1852567"/>
            <a:ext cx="4450523" cy="371696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uddhism</a:t>
            </a:r>
            <a:endParaRPr kumimoji="1" lang="ja-JP" altLang="en-US" sz="2000" b="1" i="0" u="sng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" name="円/楕円 7"/>
          <p:cNvSpPr/>
          <p:nvPr/>
        </p:nvSpPr>
        <p:spPr>
          <a:xfrm>
            <a:off x="575698" y="2396896"/>
            <a:ext cx="1807613" cy="1279504"/>
          </a:xfrm>
          <a:prstGeom prst="ellipse">
            <a:avLst/>
          </a:prstGeom>
          <a:solidFill>
            <a:srgbClr val="66FF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Sci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Physics, Physiology</a:t>
            </a:r>
            <a:endParaRPr kumimoji="1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9" name="円/楕円 8"/>
          <p:cNvSpPr/>
          <p:nvPr/>
        </p:nvSpPr>
        <p:spPr>
          <a:xfrm>
            <a:off x="2704822" y="2396896"/>
            <a:ext cx="1831174" cy="127747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Fai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uddha, Saints, Gods</a:t>
            </a:r>
            <a:endParaRPr kumimoji="1" lang="ja-JP" altLang="en-US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0" name="円/楕円 9"/>
          <p:cNvSpPr/>
          <p:nvPr/>
        </p:nvSpPr>
        <p:spPr>
          <a:xfrm>
            <a:off x="2635808" y="3870768"/>
            <a:ext cx="2024003" cy="1512813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Ethics, Pract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Discipline, moral, meditation</a:t>
            </a:r>
          </a:p>
        </p:txBody>
      </p:sp>
      <p:sp>
        <p:nvSpPr>
          <p:cNvPr id="12" name="円/楕円 11"/>
          <p:cNvSpPr/>
          <p:nvPr/>
        </p:nvSpPr>
        <p:spPr>
          <a:xfrm>
            <a:off x="467544" y="3795002"/>
            <a:ext cx="2023922" cy="1655923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Philosoph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Ontology, Epistemology, Logic</a:t>
            </a:r>
          </a:p>
        </p:txBody>
      </p:sp>
      <p:sp>
        <p:nvSpPr>
          <p:cNvPr id="5" name="円弧 4"/>
          <p:cNvSpPr/>
          <p:nvPr/>
        </p:nvSpPr>
        <p:spPr>
          <a:xfrm rot="18192452">
            <a:off x="4203782" y="2156484"/>
            <a:ext cx="1701723" cy="1890053"/>
          </a:xfrm>
          <a:prstGeom prst="arc">
            <a:avLst/>
          </a:prstGeom>
          <a:ln w="127000">
            <a:solidFill>
              <a:srgbClr val="FFC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6" name="角丸四角形 5"/>
          <p:cNvSpPr/>
          <p:nvPr/>
        </p:nvSpPr>
        <p:spPr>
          <a:xfrm>
            <a:off x="5604941" y="2035897"/>
            <a:ext cx="3000299" cy="959680"/>
          </a:xfrm>
          <a:prstGeom prst="roundRect">
            <a:avLst/>
          </a:prstGeom>
          <a:noFill/>
          <a:ln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Religious aspect of Buddhism</a:t>
            </a:r>
            <a:endParaRPr kumimoji="1" lang="ja-JP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5584580" y="3898651"/>
            <a:ext cx="3256561" cy="1746514"/>
          </a:xfrm>
          <a:prstGeom prst="rect">
            <a:avLst/>
          </a:prstGeom>
          <a:noFill/>
          <a:ln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Non-religious aspects of Buddhism.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(Applicable t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secular society)</a:t>
            </a:r>
          </a:p>
        </p:txBody>
      </p:sp>
      <p:sp>
        <p:nvSpPr>
          <p:cNvPr id="15" name="円弧 14"/>
          <p:cNvSpPr/>
          <p:nvPr/>
        </p:nvSpPr>
        <p:spPr>
          <a:xfrm rot="14687928" flipH="1">
            <a:off x="4790177" y="3794653"/>
            <a:ext cx="1029490" cy="1885547"/>
          </a:xfrm>
          <a:prstGeom prst="arc">
            <a:avLst/>
          </a:prstGeom>
          <a:ln w="127000">
            <a:solidFill>
              <a:srgbClr val="FFFF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3" name="タイトル 1"/>
          <p:cNvSpPr txBox="1">
            <a:spLocks/>
          </p:cNvSpPr>
          <p:nvPr/>
        </p:nvSpPr>
        <p:spPr>
          <a:xfrm>
            <a:off x="468336" y="458823"/>
            <a:ext cx="8136904" cy="9289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3600" b="1" i="1" dirty="0">
                <a:solidFill>
                  <a:srgbClr val="FFFF00"/>
                </a:solidFill>
              </a:rPr>
              <a:t>Is Buddhism only a religion?</a:t>
            </a:r>
            <a:endParaRPr lang="ja-JP" altLang="ja-JP" sz="32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905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7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7" presetClass="emph" presetSubtype="0" fill="remove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3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4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25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750"/>
                            </p:stCondLst>
                            <p:childTnLst>
                              <p:par>
                                <p:cTn id="4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7" presetClass="emph" presetSubtype="0" fill="remove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1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2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3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4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27" presetClass="emph" presetSubtype="0" fill="remove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6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7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8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9" dur="250" autoRev="1" fill="remove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7" presetClass="emph" presetSubtype="0" fill="remove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1" dur="25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2" dur="25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3" dur="25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4" dur="25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25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2" grpId="0" animBg="1"/>
      <p:bldP spid="12" grpId="1" animBg="1"/>
      <p:bldP spid="5" grpId="0" animBg="1"/>
      <p:bldP spid="6" grpId="0" animBg="1"/>
      <p:bldP spid="6" grpId="1" animBg="1"/>
      <p:bldP spid="7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621904" y="3068960"/>
            <a:ext cx="8064896" cy="3312368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altLang="ja-JP" sz="3200" b="1" dirty="0">
                <a:solidFill>
                  <a:srgbClr val="FFFF00"/>
                </a:solidFill>
              </a:rPr>
              <a:t>Integration of Wisdom and Compassion:</a:t>
            </a:r>
          </a:p>
          <a:p>
            <a:pPr marL="0" indent="444500">
              <a:spcBef>
                <a:spcPts val="2400"/>
              </a:spcBef>
              <a:buNone/>
            </a:pPr>
            <a:r>
              <a:rPr lang="en-US" altLang="ja-JP" sz="2800" b="1" dirty="0">
                <a:solidFill>
                  <a:srgbClr val="FFFF00"/>
                </a:solidFill>
              </a:rPr>
              <a:t>1. Wisdom </a:t>
            </a:r>
            <a:r>
              <a:rPr lang="bo-CN" altLang="ja-JP" sz="4000" b="1" dirty="0">
                <a:solidFill>
                  <a:srgbClr val="FFFF00"/>
                </a:solidFill>
              </a:rPr>
              <a:t>ཤེས་རབ་</a:t>
            </a:r>
            <a:r>
              <a:rPr lang="en-US" altLang="ja-JP" sz="2800" b="1" dirty="0">
                <a:solidFill>
                  <a:srgbClr val="FFFF00"/>
                </a:solidFill>
              </a:rPr>
              <a:t> </a:t>
            </a:r>
          </a:p>
          <a:p>
            <a:pPr marL="0" indent="804863">
              <a:lnSpc>
                <a:spcPts val="2500"/>
              </a:lnSpc>
              <a:spcBef>
                <a:spcPts val="0"/>
              </a:spcBef>
              <a:buNone/>
            </a:pPr>
            <a:r>
              <a:rPr lang="en-US" altLang="ja-JP" sz="2600" b="1" dirty="0">
                <a:solidFill>
                  <a:srgbClr val="FFFF00"/>
                </a:solidFill>
              </a:rPr>
              <a:t>(*high standard of academic research; journal)</a:t>
            </a:r>
          </a:p>
          <a:p>
            <a:pPr marL="0" indent="444500">
              <a:spcBef>
                <a:spcPts val="3000"/>
              </a:spcBef>
              <a:buNone/>
            </a:pPr>
            <a:r>
              <a:rPr lang="en-US" altLang="ja-JP" sz="2800" b="1" dirty="0">
                <a:solidFill>
                  <a:srgbClr val="FFFF00"/>
                </a:solidFill>
              </a:rPr>
              <a:t>2. Compassion </a:t>
            </a:r>
            <a:r>
              <a:rPr lang="bo-CN" altLang="ja-JP" sz="3600" b="1" dirty="0">
                <a:solidFill>
                  <a:srgbClr val="FFFF00"/>
                </a:solidFill>
              </a:rPr>
              <a:t>སྙིང་རྗེ་</a:t>
            </a:r>
            <a:r>
              <a:rPr lang="en-US" altLang="ja-JP" sz="2800" b="1" dirty="0">
                <a:solidFill>
                  <a:srgbClr val="FFFF00"/>
                </a:solidFill>
              </a:rPr>
              <a:t>/</a:t>
            </a:r>
            <a:r>
              <a:rPr lang="bo-CN" altLang="ja-JP" sz="3600" b="1" dirty="0">
                <a:solidFill>
                  <a:srgbClr val="FFFF00"/>
                </a:solidFill>
              </a:rPr>
              <a:t>གཞན་དོན་</a:t>
            </a:r>
            <a:endParaRPr lang="en-US" altLang="ja-JP" sz="2800" b="1" dirty="0">
              <a:solidFill>
                <a:srgbClr val="FFFF00"/>
              </a:solidFill>
            </a:endParaRPr>
          </a:p>
          <a:p>
            <a:pPr marL="0" indent="804863">
              <a:lnSpc>
                <a:spcPts val="2600"/>
              </a:lnSpc>
              <a:spcBef>
                <a:spcPts val="0"/>
              </a:spcBef>
              <a:buNone/>
            </a:pPr>
            <a:r>
              <a:rPr lang="en-US" altLang="ja-JP" sz="2600" b="1" dirty="0">
                <a:solidFill>
                  <a:srgbClr val="FFFF00"/>
                </a:solidFill>
              </a:rPr>
              <a:t>(*Contribution to society &amp; all sentient beings)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9FFBA-DAFA-4759-90F9-65221B46EDAD}" type="slidenum">
              <a:rPr kumimoji="1" lang="ja-JP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602350" y="548680"/>
            <a:ext cx="7868576" cy="1944216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600" b="1" i="0" u="sng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Suggestion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How about applying Buddhist non-religious methodology to </a:t>
            </a:r>
            <a:r>
              <a:rPr kumimoji="1" lang="en-US" altLang="ja-JP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hutanology</a:t>
            </a: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 via ISBS?</a:t>
            </a:r>
            <a:endParaRPr kumimoji="1" lang="en-US" altLang="ja-JP" sz="28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4233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251520" y="1844824"/>
            <a:ext cx="8568952" cy="3024336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altLang="ja-JP" sz="4400" b="1" u="sng" dirty="0">
                <a:solidFill>
                  <a:srgbClr val="FFFF00"/>
                </a:solidFill>
              </a:rPr>
              <a:t>Suggestion 2</a:t>
            </a:r>
          </a:p>
          <a:p>
            <a:pPr marL="0" indent="0" algn="ctr">
              <a:spcBef>
                <a:spcPts val="4200"/>
              </a:spcBef>
              <a:buNone/>
            </a:pPr>
            <a:r>
              <a:rPr lang="en-US" altLang="ja-JP" sz="3600" b="1" dirty="0">
                <a:solidFill>
                  <a:srgbClr val="FFFF00"/>
                </a:solidFill>
              </a:rPr>
              <a:t>How about involving natural scientists?</a:t>
            </a:r>
          </a:p>
          <a:p>
            <a:pPr marL="0" indent="0" algn="ctr">
              <a:spcBef>
                <a:spcPts val="2400"/>
              </a:spcBef>
              <a:buNone/>
            </a:pPr>
            <a:r>
              <a:rPr lang="en-US" altLang="ja-JP" sz="3600" b="1" dirty="0">
                <a:solidFill>
                  <a:srgbClr val="FFFF00"/>
                </a:solidFill>
              </a:rPr>
              <a:t>(in order to foster </a:t>
            </a:r>
            <a:r>
              <a:rPr lang="en-US" altLang="ja-JP" sz="3600" b="1" dirty="0" err="1">
                <a:solidFill>
                  <a:srgbClr val="FFFF00"/>
                </a:solidFill>
              </a:rPr>
              <a:t>interdisciplinarity</a:t>
            </a:r>
            <a:r>
              <a:rPr lang="en-US" altLang="ja-JP" sz="3600" b="1" dirty="0">
                <a:solidFill>
                  <a:srgbClr val="FFFF00"/>
                </a:solidFill>
              </a:rPr>
              <a:t>)</a:t>
            </a:r>
            <a:endParaRPr lang="en-US" altLang="ja-JP" sz="3200" b="1" dirty="0">
              <a:solidFill>
                <a:srgbClr val="FFFF00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9FFBA-DAFA-4759-90F9-65221B46EDAD}" type="slidenum">
              <a:rPr kumimoji="1" lang="ja-JP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203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6960" y="2276872"/>
            <a:ext cx="8280920" cy="2088232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altLang="ja-JP" sz="4800" b="1" dirty="0">
                <a:solidFill>
                  <a:srgbClr val="FFFF00"/>
                </a:solidFill>
              </a:rPr>
              <a:t>Toward Multidisciplinary Bhutanese Studies</a:t>
            </a:r>
            <a:endParaRPr lang="en-US" altLang="ja-JP" sz="4400" b="1" dirty="0">
              <a:solidFill>
                <a:srgbClr val="FFFF00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9FFBA-DAFA-4759-90F9-65221B46EDAD}" type="slidenum">
              <a:rPr kumimoji="1" lang="ja-JP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920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854327" y="1268760"/>
            <a:ext cx="7012819" cy="1296144"/>
          </a:xfrm>
        </p:spPr>
        <p:txBody>
          <a:bodyPr>
            <a:noAutofit/>
          </a:bodyPr>
          <a:lstStyle/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FFFF00"/>
                </a:solidFill>
              </a:rPr>
              <a:t>2012</a:t>
            </a:r>
            <a:r>
              <a:rPr lang="en-US" altLang="ja-JP" dirty="0">
                <a:solidFill>
                  <a:schemeClr val="bg1"/>
                </a:solidFill>
              </a:rPr>
              <a:t> Launch of the “</a:t>
            </a:r>
            <a:r>
              <a:rPr lang="en-US" altLang="ja-JP" i="1" dirty="0">
                <a:solidFill>
                  <a:schemeClr val="bg1"/>
                </a:solidFill>
              </a:rPr>
              <a:t>Bhutanese Buddhism Research Project</a:t>
            </a:r>
            <a:r>
              <a:rPr lang="en-US" altLang="ja-JP" dirty="0">
                <a:solidFill>
                  <a:schemeClr val="bg1"/>
                </a:solidFill>
              </a:rPr>
              <a:t>” (BBRP) in Kyoto.</a:t>
            </a:r>
          </a:p>
          <a:p>
            <a:pPr marL="717550" indent="-717550" fontAlgn="ctr">
              <a:spcBef>
                <a:spcPts val="0"/>
              </a:spcBef>
              <a:buNone/>
            </a:pPr>
            <a:endParaRPr lang="en-US" altLang="ja-JP" dirty="0">
              <a:solidFill>
                <a:schemeClr val="bg1"/>
              </a:solidFill>
            </a:endParaRPr>
          </a:p>
        </p:txBody>
      </p:sp>
      <p:sp>
        <p:nvSpPr>
          <p:cNvPr id="4" name="コンテンツ プレースホルダー 2"/>
          <p:cNvSpPr txBox="1">
            <a:spLocks/>
          </p:cNvSpPr>
          <p:nvPr/>
        </p:nvSpPr>
        <p:spPr>
          <a:xfrm>
            <a:off x="270151" y="1122538"/>
            <a:ext cx="1499862" cy="792088"/>
          </a:xfrm>
          <a:prstGeom prst="rect">
            <a:avLst/>
          </a:prstGeom>
          <a:ln>
            <a:solidFill>
              <a:srgbClr val="FFFF00"/>
            </a:solidFill>
          </a:ln>
        </p:spPr>
        <p:txBody>
          <a:bodyPr vert="horz" lIns="0" tIns="0" rIns="0" bIns="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hutanese Buddhism</a:t>
            </a:r>
          </a:p>
        </p:txBody>
      </p:sp>
      <p:sp>
        <p:nvSpPr>
          <p:cNvPr id="8" name="コンテンツ プレースホルダー 2"/>
          <p:cNvSpPr txBox="1">
            <a:spLocks/>
          </p:cNvSpPr>
          <p:nvPr/>
        </p:nvSpPr>
        <p:spPr>
          <a:xfrm>
            <a:off x="395536" y="260648"/>
            <a:ext cx="8471610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Toward Multidisciplinary Bhutan Studies</a:t>
            </a:r>
          </a:p>
        </p:txBody>
      </p:sp>
      <p:pic>
        <p:nvPicPr>
          <p:cNvPr id="5" name="Picture 3" descr="C:\Users\Seiji\Desktop\DSC_017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506" y="3645024"/>
            <a:ext cx="2667102" cy="1932793"/>
          </a:xfrm>
          <a:prstGeom prst="rect">
            <a:avLst/>
          </a:prstGeom>
          <a:noFill/>
          <a:effectLst>
            <a:softEdge rad="254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430" y="2366281"/>
            <a:ext cx="2645370" cy="1661046"/>
          </a:xfrm>
          <a:prstGeom prst="rect">
            <a:avLst/>
          </a:prstGeom>
          <a:ln>
            <a:noFill/>
          </a:ln>
          <a:effectLst>
            <a:softEdge rad="190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Seiji\Documents\こころセンター関係\ブータン学研究室関係\ブータン学研究室写真\0946辞令交付式集合写真１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5112388"/>
            <a:ext cx="2638906" cy="174561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コンテンツ プレースホルダー 2"/>
          <p:cNvSpPr txBox="1">
            <a:spLocks/>
          </p:cNvSpPr>
          <p:nvPr/>
        </p:nvSpPr>
        <p:spPr>
          <a:xfrm>
            <a:off x="2699792" y="2898736"/>
            <a:ext cx="5619984" cy="7920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altLang="ja-JP" sz="2600" b="1" dirty="0">
                <a:solidFill>
                  <a:schemeClr val="bg1"/>
                </a:solidFill>
              </a:rPr>
              <a:t>Press Conference </a:t>
            </a:r>
            <a:r>
              <a:rPr lang="en-US" altLang="ja-JP" sz="2600" dirty="0">
                <a:solidFill>
                  <a:schemeClr val="bg1"/>
                </a:solidFill>
              </a:rPr>
              <a:t> (@Kyoto University)</a:t>
            </a:r>
          </a:p>
        </p:txBody>
      </p:sp>
      <p:sp>
        <p:nvSpPr>
          <p:cNvPr id="10" name="コンテンツ プレースホルダー 2"/>
          <p:cNvSpPr txBox="1">
            <a:spLocks/>
          </p:cNvSpPr>
          <p:nvPr/>
        </p:nvSpPr>
        <p:spPr>
          <a:xfrm>
            <a:off x="5292080" y="4221088"/>
            <a:ext cx="2887352" cy="6480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itchFamily="34" charset="0"/>
              <a:buNone/>
            </a:pPr>
            <a:r>
              <a:rPr lang="en-US" altLang="ja-JP" sz="2600" b="1" dirty="0" err="1">
                <a:solidFill>
                  <a:schemeClr val="bg1"/>
                </a:solidFill>
              </a:rPr>
              <a:t>MoU</a:t>
            </a:r>
            <a:r>
              <a:rPr lang="en-US" altLang="ja-JP" sz="2600" b="1" dirty="0">
                <a:solidFill>
                  <a:schemeClr val="bg1"/>
                </a:solidFill>
              </a:rPr>
              <a:t> with CBS</a:t>
            </a:r>
            <a:endParaRPr lang="en-US" altLang="ja-JP" sz="2600" dirty="0">
              <a:solidFill>
                <a:schemeClr val="bg1"/>
              </a:solidFill>
            </a:endParaRPr>
          </a:p>
        </p:txBody>
      </p:sp>
      <p:sp>
        <p:nvSpPr>
          <p:cNvPr id="11" name="コンテンツ プレースホルダー 2"/>
          <p:cNvSpPr txBox="1">
            <a:spLocks/>
          </p:cNvSpPr>
          <p:nvPr/>
        </p:nvSpPr>
        <p:spPr>
          <a:xfrm>
            <a:off x="1043608" y="5641746"/>
            <a:ext cx="4968552" cy="8835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Font typeface="Arial" pitchFamily="34" charset="0"/>
              <a:buNone/>
            </a:pPr>
            <a:r>
              <a:rPr lang="en-US" altLang="ja-JP" sz="2600" b="1" dirty="0">
                <a:solidFill>
                  <a:schemeClr val="bg1"/>
                </a:solidFill>
              </a:rPr>
              <a:t>Establishment of the Department of Bhutanese Studies</a:t>
            </a:r>
            <a:endParaRPr lang="en-US" altLang="ja-JP" sz="2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297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854327" y="1268760"/>
            <a:ext cx="7012819" cy="3168352"/>
          </a:xfrm>
        </p:spPr>
        <p:txBody>
          <a:bodyPr>
            <a:noAutofit/>
          </a:bodyPr>
          <a:lstStyle/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FFFF00"/>
                </a:solidFill>
              </a:rPr>
              <a:t>2012</a:t>
            </a:r>
            <a:r>
              <a:rPr lang="en-US" altLang="ja-JP" dirty="0">
                <a:solidFill>
                  <a:schemeClr val="bg1"/>
                </a:solidFill>
              </a:rPr>
              <a:t> Launch of the “</a:t>
            </a:r>
            <a:r>
              <a:rPr lang="en-US" altLang="ja-JP" i="1" dirty="0">
                <a:solidFill>
                  <a:schemeClr val="bg1"/>
                </a:solidFill>
              </a:rPr>
              <a:t>Bhutanese Buddhism Research Project</a:t>
            </a:r>
            <a:r>
              <a:rPr lang="en-US" altLang="ja-JP" dirty="0">
                <a:solidFill>
                  <a:schemeClr val="bg1"/>
                </a:solidFill>
              </a:rPr>
              <a:t>” (BBRP) in Kyoto.</a:t>
            </a: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dirty="0">
                <a:solidFill>
                  <a:schemeClr val="bg1"/>
                </a:solidFill>
              </a:rPr>
              <a:t> </a:t>
            </a: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FFC000"/>
                </a:solidFill>
              </a:rPr>
              <a:t>2013</a:t>
            </a:r>
            <a:r>
              <a:rPr lang="en-US" altLang="ja-JP" dirty="0">
                <a:solidFill>
                  <a:schemeClr val="bg1"/>
                </a:solidFill>
              </a:rPr>
              <a:t> 	Academic panel in IATS (in Ulaanbaatar) : </a:t>
            </a:r>
            <a:r>
              <a:rPr lang="en-US" altLang="ja-JP" i="1" dirty="0">
                <a:solidFill>
                  <a:schemeClr val="bg1"/>
                </a:solidFill>
              </a:rPr>
              <a:t>Bhutanese Buddhism and Its Culture</a:t>
            </a:r>
            <a:endParaRPr lang="en-US" altLang="ja-JP" dirty="0">
              <a:solidFill>
                <a:schemeClr val="bg1"/>
              </a:solidFill>
            </a:endParaRPr>
          </a:p>
          <a:p>
            <a:pPr marL="717550" indent="-717550" fontAlgn="ctr">
              <a:spcBef>
                <a:spcPts val="0"/>
              </a:spcBef>
              <a:buNone/>
            </a:pPr>
            <a:endParaRPr lang="en-US" altLang="ja-JP" dirty="0">
              <a:solidFill>
                <a:schemeClr val="bg1"/>
              </a:solidFill>
            </a:endParaRP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FFC000"/>
                </a:solidFill>
              </a:rPr>
              <a:t>2014</a:t>
            </a:r>
            <a:r>
              <a:rPr lang="en-US" altLang="ja-JP" dirty="0">
                <a:solidFill>
                  <a:schemeClr val="bg1"/>
                </a:solidFill>
              </a:rPr>
              <a:t> Book: </a:t>
            </a:r>
            <a:r>
              <a:rPr lang="en-US" altLang="ja-JP" i="1" dirty="0">
                <a:solidFill>
                  <a:schemeClr val="bg1"/>
                </a:solidFill>
              </a:rPr>
              <a:t>Bhutanese Buddhism and Its Culture</a:t>
            </a:r>
            <a:r>
              <a:rPr lang="en-US" altLang="ja-JP" dirty="0">
                <a:solidFill>
                  <a:schemeClr val="bg1"/>
                </a:solidFill>
              </a:rPr>
              <a:t> (Kathmandu: Vajra Publications).</a:t>
            </a:r>
          </a:p>
        </p:txBody>
      </p:sp>
      <p:sp>
        <p:nvSpPr>
          <p:cNvPr id="4" name="コンテンツ プレースホルダー 2"/>
          <p:cNvSpPr txBox="1">
            <a:spLocks/>
          </p:cNvSpPr>
          <p:nvPr/>
        </p:nvSpPr>
        <p:spPr>
          <a:xfrm>
            <a:off x="270151" y="1122538"/>
            <a:ext cx="1499862" cy="792088"/>
          </a:xfrm>
          <a:prstGeom prst="rect">
            <a:avLst/>
          </a:prstGeom>
          <a:ln>
            <a:solidFill>
              <a:srgbClr val="FFFF00"/>
            </a:solidFill>
          </a:ln>
        </p:spPr>
        <p:txBody>
          <a:bodyPr vert="horz" lIns="0" tIns="0" rIns="0" bIns="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hutanese Buddhism</a:t>
            </a:r>
          </a:p>
        </p:txBody>
      </p:sp>
      <p:sp>
        <p:nvSpPr>
          <p:cNvPr id="5" name="コンテンツ プレースホルダー 2"/>
          <p:cNvSpPr txBox="1">
            <a:spLocks/>
          </p:cNvSpPr>
          <p:nvPr/>
        </p:nvSpPr>
        <p:spPr>
          <a:xfrm>
            <a:off x="270151" y="2384884"/>
            <a:ext cx="1499862" cy="1584176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vert="horz" lIns="0" tIns="0" rIns="0" bIns="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hutanese Buddhism and its Culture</a:t>
            </a:r>
          </a:p>
        </p:txBody>
      </p:sp>
      <p:sp>
        <p:nvSpPr>
          <p:cNvPr id="2" name="下矢印 1"/>
          <p:cNvSpPr/>
          <p:nvPr/>
        </p:nvSpPr>
        <p:spPr>
          <a:xfrm>
            <a:off x="887915" y="1989277"/>
            <a:ext cx="216024" cy="411034"/>
          </a:xfrm>
          <a:prstGeom prst="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" name="コンテンツ プレースホルダー 2"/>
          <p:cNvSpPr txBox="1">
            <a:spLocks/>
          </p:cNvSpPr>
          <p:nvPr/>
        </p:nvSpPr>
        <p:spPr>
          <a:xfrm>
            <a:off x="395536" y="260648"/>
            <a:ext cx="8471610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Toward Multidisciplinary Bhutan Studies</a:t>
            </a:r>
          </a:p>
        </p:txBody>
      </p:sp>
      <p:pic>
        <p:nvPicPr>
          <p:cNvPr id="9" name="図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4457237"/>
            <a:ext cx="1512168" cy="218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931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854327" y="1268760"/>
            <a:ext cx="7012819" cy="5400600"/>
          </a:xfrm>
        </p:spPr>
        <p:txBody>
          <a:bodyPr>
            <a:noAutofit/>
          </a:bodyPr>
          <a:lstStyle/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FFFF00"/>
                </a:solidFill>
              </a:rPr>
              <a:t>2012</a:t>
            </a:r>
            <a:r>
              <a:rPr lang="en-US" altLang="ja-JP" dirty="0">
                <a:solidFill>
                  <a:schemeClr val="bg1"/>
                </a:solidFill>
              </a:rPr>
              <a:t> Launch of the “</a:t>
            </a:r>
            <a:r>
              <a:rPr lang="en-US" altLang="ja-JP" i="1" dirty="0">
                <a:solidFill>
                  <a:schemeClr val="bg1"/>
                </a:solidFill>
              </a:rPr>
              <a:t>Bhutanese Buddhism Research Project</a:t>
            </a:r>
            <a:r>
              <a:rPr lang="en-US" altLang="ja-JP" dirty="0">
                <a:solidFill>
                  <a:schemeClr val="bg1"/>
                </a:solidFill>
              </a:rPr>
              <a:t>” (BBRP) in Kyoto.</a:t>
            </a: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dirty="0">
                <a:solidFill>
                  <a:schemeClr val="bg1"/>
                </a:solidFill>
              </a:rPr>
              <a:t> </a:t>
            </a: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FFC000"/>
                </a:solidFill>
              </a:rPr>
              <a:t>2013</a:t>
            </a:r>
            <a:r>
              <a:rPr lang="en-US" altLang="ja-JP" dirty="0">
                <a:solidFill>
                  <a:schemeClr val="bg1"/>
                </a:solidFill>
              </a:rPr>
              <a:t> 	Academic panel in IATS (in Ulaanbaatar): </a:t>
            </a:r>
            <a:r>
              <a:rPr lang="en-US" altLang="ja-JP" i="1" dirty="0">
                <a:solidFill>
                  <a:schemeClr val="bg1"/>
                </a:solidFill>
              </a:rPr>
              <a:t>Bhutanese Buddhism and Its Culture</a:t>
            </a:r>
            <a:endParaRPr lang="en-US" altLang="ja-JP" dirty="0">
              <a:solidFill>
                <a:schemeClr val="bg1"/>
              </a:solidFill>
            </a:endParaRPr>
          </a:p>
          <a:p>
            <a:pPr marL="717550" indent="-717550" fontAlgn="ctr">
              <a:spcBef>
                <a:spcPts val="0"/>
              </a:spcBef>
              <a:buNone/>
            </a:pPr>
            <a:endParaRPr lang="en-US" altLang="ja-JP" dirty="0">
              <a:solidFill>
                <a:schemeClr val="bg1"/>
              </a:solidFill>
            </a:endParaRP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FFC000"/>
                </a:solidFill>
              </a:rPr>
              <a:t>2014</a:t>
            </a:r>
            <a:r>
              <a:rPr lang="en-US" altLang="ja-JP" dirty="0">
                <a:solidFill>
                  <a:schemeClr val="bg1"/>
                </a:solidFill>
              </a:rPr>
              <a:t> Book: </a:t>
            </a:r>
            <a:r>
              <a:rPr lang="en-US" altLang="ja-JP" i="1" dirty="0">
                <a:solidFill>
                  <a:schemeClr val="bg1"/>
                </a:solidFill>
              </a:rPr>
              <a:t>Bhutanese Buddhism and Its Culture</a:t>
            </a:r>
            <a:r>
              <a:rPr lang="en-US" altLang="ja-JP" dirty="0">
                <a:solidFill>
                  <a:schemeClr val="bg1"/>
                </a:solidFill>
              </a:rPr>
              <a:t> (Kathmandu: Vajra Publications).</a:t>
            </a:r>
          </a:p>
          <a:p>
            <a:pPr marL="717550" indent="-717550" fontAlgn="ctr">
              <a:spcBef>
                <a:spcPts val="0"/>
              </a:spcBef>
              <a:buNone/>
            </a:pPr>
            <a:endParaRPr lang="en-US" altLang="ja-JP" dirty="0">
              <a:solidFill>
                <a:schemeClr val="bg1"/>
              </a:solidFill>
            </a:endParaRP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EFADF1"/>
                </a:solidFill>
              </a:rPr>
              <a:t>2016</a:t>
            </a:r>
            <a:r>
              <a:rPr lang="en-US" altLang="ja-JP" dirty="0">
                <a:solidFill>
                  <a:schemeClr val="bg1"/>
                </a:solidFill>
              </a:rPr>
              <a:t> 	Academic panel in IATS (in Bergen): </a:t>
            </a:r>
          </a:p>
          <a:p>
            <a:pPr marL="717550" indent="3175" fontAlgn="ctr">
              <a:spcBef>
                <a:spcPts val="0"/>
              </a:spcBef>
              <a:buNone/>
            </a:pPr>
            <a:r>
              <a:rPr lang="en-US" altLang="ja-JP" i="1" dirty="0">
                <a:solidFill>
                  <a:schemeClr val="bg1"/>
                </a:solidFill>
              </a:rPr>
              <a:t>Buddhism, Culture, and Society in Bhutan</a:t>
            </a:r>
            <a:endParaRPr lang="en-US" altLang="ja-JP" dirty="0">
              <a:solidFill>
                <a:schemeClr val="bg1"/>
              </a:solidFill>
            </a:endParaRPr>
          </a:p>
          <a:p>
            <a:pPr marL="717550" indent="-717550" fontAlgn="ctr">
              <a:spcBef>
                <a:spcPts val="0"/>
              </a:spcBef>
              <a:buNone/>
            </a:pPr>
            <a:endParaRPr lang="en-US" altLang="ja-JP" dirty="0">
              <a:solidFill>
                <a:schemeClr val="bg1"/>
              </a:solidFill>
            </a:endParaRPr>
          </a:p>
          <a:p>
            <a:pPr marL="717550" indent="-717550" fontAlgn="ctr">
              <a:spcBef>
                <a:spcPts val="0"/>
              </a:spcBef>
              <a:buNone/>
            </a:pPr>
            <a:r>
              <a:rPr lang="en-US" altLang="ja-JP" b="1" dirty="0">
                <a:solidFill>
                  <a:srgbClr val="EFADF1"/>
                </a:solidFill>
              </a:rPr>
              <a:t>2018</a:t>
            </a:r>
            <a:r>
              <a:rPr lang="en-US" altLang="ja-JP" dirty="0">
                <a:solidFill>
                  <a:schemeClr val="bg1"/>
                </a:solidFill>
              </a:rPr>
              <a:t> Book: </a:t>
            </a:r>
            <a:r>
              <a:rPr lang="en-US" altLang="ja-JP" i="1" dirty="0">
                <a:solidFill>
                  <a:schemeClr val="bg1"/>
                </a:solidFill>
              </a:rPr>
              <a:t>Buddhism, Culture, and Society in Bhutan </a:t>
            </a:r>
            <a:r>
              <a:rPr lang="en-US" altLang="ja-JP" dirty="0">
                <a:solidFill>
                  <a:schemeClr val="bg1"/>
                </a:solidFill>
              </a:rPr>
              <a:t>(Kathmandu: Vajra Publications).</a:t>
            </a:r>
          </a:p>
        </p:txBody>
      </p:sp>
      <p:sp>
        <p:nvSpPr>
          <p:cNvPr id="4" name="コンテンツ プレースホルダー 2"/>
          <p:cNvSpPr txBox="1">
            <a:spLocks/>
          </p:cNvSpPr>
          <p:nvPr/>
        </p:nvSpPr>
        <p:spPr>
          <a:xfrm>
            <a:off x="270151" y="1122538"/>
            <a:ext cx="1499862" cy="792088"/>
          </a:xfrm>
          <a:prstGeom prst="rect">
            <a:avLst/>
          </a:prstGeom>
          <a:ln>
            <a:solidFill>
              <a:srgbClr val="FFFF00"/>
            </a:solidFill>
          </a:ln>
        </p:spPr>
        <p:txBody>
          <a:bodyPr vert="horz" lIns="0" tIns="0" rIns="0" bIns="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hutanese Buddhism</a:t>
            </a:r>
          </a:p>
        </p:txBody>
      </p:sp>
      <p:sp>
        <p:nvSpPr>
          <p:cNvPr id="5" name="コンテンツ プレースホルダー 2"/>
          <p:cNvSpPr txBox="1">
            <a:spLocks/>
          </p:cNvSpPr>
          <p:nvPr/>
        </p:nvSpPr>
        <p:spPr>
          <a:xfrm>
            <a:off x="270151" y="2384884"/>
            <a:ext cx="1499862" cy="1584176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vert="horz" lIns="0" tIns="0" rIns="0" bIns="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Bhutanese Buddhism and its Culture</a:t>
            </a:r>
          </a:p>
        </p:txBody>
      </p:sp>
      <p:sp>
        <p:nvSpPr>
          <p:cNvPr id="6" name="コンテンツ プレースホルダー 2"/>
          <p:cNvSpPr txBox="1">
            <a:spLocks/>
          </p:cNvSpPr>
          <p:nvPr/>
        </p:nvSpPr>
        <p:spPr>
          <a:xfrm>
            <a:off x="270151" y="4620100"/>
            <a:ext cx="1499862" cy="1545204"/>
          </a:xfrm>
          <a:prstGeom prst="rect">
            <a:avLst/>
          </a:prstGeom>
          <a:ln>
            <a:solidFill>
              <a:srgbClr val="EFADF1"/>
            </a:solidFill>
          </a:ln>
        </p:spPr>
        <p:txBody>
          <a:bodyPr vert="horz" lIns="0" tIns="0" rIns="0" bIns="0" rtlCol="0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EFADF1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Culture,</a:t>
            </a:r>
          </a:p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EFADF1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Society, </a:t>
            </a:r>
          </a:p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EFADF1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Religion</a:t>
            </a:r>
          </a:p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2400" b="1" i="0" u="none" strike="noStrike" kern="1200" cap="none" spc="0" normalizeH="0" baseline="0" noProof="0" dirty="0">
                <a:ln>
                  <a:noFill/>
                </a:ln>
                <a:solidFill>
                  <a:srgbClr val="EFADF1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 in Bhutan</a:t>
            </a:r>
          </a:p>
        </p:txBody>
      </p:sp>
      <p:sp>
        <p:nvSpPr>
          <p:cNvPr id="2" name="下矢印 1"/>
          <p:cNvSpPr/>
          <p:nvPr/>
        </p:nvSpPr>
        <p:spPr>
          <a:xfrm>
            <a:off x="887915" y="1989277"/>
            <a:ext cx="216024" cy="411034"/>
          </a:xfrm>
          <a:prstGeom prst="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" name="下矢印 6"/>
          <p:cNvSpPr/>
          <p:nvPr/>
        </p:nvSpPr>
        <p:spPr>
          <a:xfrm>
            <a:off x="887915" y="4026509"/>
            <a:ext cx="252028" cy="530968"/>
          </a:xfrm>
          <a:prstGeom prst="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" name="コンテンツ プレースホルダー 2"/>
          <p:cNvSpPr txBox="1">
            <a:spLocks/>
          </p:cNvSpPr>
          <p:nvPr/>
        </p:nvSpPr>
        <p:spPr>
          <a:xfrm>
            <a:off x="395536" y="260648"/>
            <a:ext cx="8471610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1" lang="en-US" altLang="ja-JP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t>Toward Multidisciplinary Bhutan Studies</a:t>
            </a:r>
          </a:p>
        </p:txBody>
      </p:sp>
      <p:pic>
        <p:nvPicPr>
          <p:cNvPr id="9" name="図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4077072"/>
            <a:ext cx="1107684" cy="1558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869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kumimoji="1">
            <a:solidFill>
              <a:srgbClr val="00B050"/>
            </a:solidFill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>
        <a:ln w="63500">
          <a:solidFill>
            <a:srgbClr val="00B0F0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544</TotalTime>
  <Words>478</Words>
  <Application>Microsoft Office PowerPoint</Application>
  <PresentationFormat>画面に合わせる (4:3)</PresentationFormat>
  <Paragraphs>130</Paragraphs>
  <Slides>15</Slides>
  <Notes>3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5</vt:i4>
      </vt:variant>
    </vt:vector>
  </HeadingPairs>
  <TitlesOfParts>
    <vt:vector size="20" baseType="lpstr">
      <vt:lpstr>ＭＳ Ｐゴシック</vt:lpstr>
      <vt:lpstr>Arial</vt:lpstr>
      <vt:lpstr>Calibri</vt:lpstr>
      <vt:lpstr>Microsoft Himalaya</vt:lpstr>
      <vt:lpstr>Office ​​テーマ</vt:lpstr>
      <vt:lpstr>ISBS : Identity &amp; Purposes Suggestions from Indo-Tibetan Buddhology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Related International Associations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Seiji</dc:creator>
  <cp:lastModifiedBy>kumagai seiji</cp:lastModifiedBy>
  <cp:revision>4615</cp:revision>
  <cp:lastPrinted>2016-07-10T15:44:46Z</cp:lastPrinted>
  <dcterms:created xsi:type="dcterms:W3CDTF">2011-09-03T13:25:37Z</dcterms:created>
  <dcterms:modified xsi:type="dcterms:W3CDTF">2019-01-10T08:42:00Z</dcterms:modified>
</cp:coreProperties>
</file>